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wdp" ContentType="image/vnd.ms-photo"/>
  <Default Extension="vml" ContentType="application/vnd.openxmlformats-officedocument.vmlDrawing"/>
  <Default Extension="tif" ContentType="image/tif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charts/chart3.xml" ContentType="application/vnd.openxmlformats-officedocument.drawingml.chart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charts/chart4.xml" ContentType="application/vnd.openxmlformats-officedocument.drawingml.chart+xml"/>
  <Override PartName="/ppt/tags/tag53.xml" ContentType="application/vnd.openxmlformats-officedocument.presentationml.tags+xml"/>
  <Override PartName="/ppt/notesSlides/notesSlide2.xml" ContentType="application/vnd.openxmlformats-officedocument.presentationml.notesSlide+xml"/>
  <Override PartName="/ppt/charts/chart5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83" r:id="rId3"/>
    <p:sldMasterId id="2147483701" r:id="rId4"/>
  </p:sldMasterIdLst>
  <p:notesMasterIdLst>
    <p:notesMasterId r:id="rId47"/>
  </p:notesMasterIdLst>
  <p:sldIdLst>
    <p:sldId id="256" r:id="rId5"/>
    <p:sldId id="257" r:id="rId6"/>
    <p:sldId id="268" r:id="rId7"/>
    <p:sldId id="258" r:id="rId8"/>
    <p:sldId id="267" r:id="rId9"/>
    <p:sldId id="266" r:id="rId10"/>
    <p:sldId id="269" r:id="rId11"/>
    <p:sldId id="270" r:id="rId12"/>
    <p:sldId id="271" r:id="rId13"/>
    <p:sldId id="274" r:id="rId14"/>
    <p:sldId id="277" r:id="rId15"/>
    <p:sldId id="263" r:id="rId16"/>
    <p:sldId id="264" r:id="rId17"/>
    <p:sldId id="265" r:id="rId18"/>
    <p:sldId id="261" r:id="rId19"/>
    <p:sldId id="259" r:id="rId20"/>
    <p:sldId id="420" r:id="rId21"/>
    <p:sldId id="421" r:id="rId22"/>
    <p:sldId id="422" r:id="rId23"/>
    <p:sldId id="260" r:id="rId24"/>
    <p:sldId id="589" r:id="rId25"/>
    <p:sldId id="329" r:id="rId26"/>
    <p:sldId id="273" r:id="rId27"/>
    <p:sldId id="282" r:id="rId28"/>
    <p:sldId id="275" r:id="rId29"/>
    <p:sldId id="276" r:id="rId30"/>
    <p:sldId id="283" r:id="rId31"/>
    <p:sldId id="278" r:id="rId32"/>
    <p:sldId id="3088" r:id="rId33"/>
    <p:sldId id="3089" r:id="rId34"/>
    <p:sldId id="591" r:id="rId35"/>
    <p:sldId id="298" r:id="rId36"/>
    <p:sldId id="592" r:id="rId37"/>
    <p:sldId id="299" r:id="rId38"/>
    <p:sldId id="425" r:id="rId39"/>
    <p:sldId id="365" r:id="rId40"/>
    <p:sldId id="426" r:id="rId41"/>
    <p:sldId id="279" r:id="rId42"/>
    <p:sldId id="3090" r:id="rId43"/>
    <p:sldId id="3091" r:id="rId44"/>
    <p:sldId id="3092" r:id="rId45"/>
    <p:sldId id="3093" r:id="rId46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7" d="100"/>
          <a:sy n="67" d="100"/>
        </p:scale>
        <p:origin x="408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slide" Target="slides/slide38.xml"/><Relationship Id="rId47" Type="http://schemas.openxmlformats.org/officeDocument/2006/relationships/notesMaster" Target="notesMasters/notesMaster1.xml"/><Relationship Id="rId50" Type="http://schemas.openxmlformats.org/officeDocument/2006/relationships/theme" Target="theme/theme1.xml"/><Relationship Id="rId7" Type="http://schemas.openxmlformats.org/officeDocument/2006/relationships/slide" Target="slides/slide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presProps" Target="presProps.xml"/><Relationship Id="rId8" Type="http://schemas.openxmlformats.org/officeDocument/2006/relationships/slide" Target="slides/slide4.xml"/><Relationship Id="rId51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3.xlsb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gewuq\Desktop\&#1058;&#1077;&#1088;&#1072;&#1092;&#1083;&#1077;&#1082;&#1089;%20&#1055;&#1088;&#1077;&#1079;&#1077;&#1085;&#1090;&#1072;&#1094;&#1080;&#1103;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oleObject12.bin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479028697571744"/>
          <c:y val="0.11479028697571744"/>
          <c:w val="0.77041942604856517"/>
          <c:h val="0.77041942604856517"/>
        </c:manualLayout>
      </c:layout>
      <c:pieChart>
        <c:varyColors val="0"/>
        <c:ser>
          <c:idx val="0"/>
          <c:order val="0"/>
          <c:spPr>
            <a:solidFill>
              <a:srgbClr val="A06F2A"/>
            </a:solidFill>
            <a:ln>
              <a:solidFill>
                <a:schemeClr val="tx1"/>
              </a:solidFill>
            </a:ln>
          </c:spPr>
          <c:dPt>
            <c:idx val="0"/>
            <c:bubble3D val="0"/>
            <c:spPr>
              <a:solidFill>
                <a:srgbClr val="A06F2A"/>
              </a:solidFill>
              <a:ln w="9525" algn="ctr">
                <a:noFill/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2A31-4005-AF6B-3B3192083145}"/>
              </c:ext>
            </c:extLst>
          </c:dPt>
          <c:dPt>
            <c:idx val="1"/>
            <c:bubble3D val="0"/>
            <c:spPr>
              <a:solidFill>
                <a:schemeClr val="bg1"/>
              </a:solidFill>
              <a:ln w="9525" algn="ctr">
                <a:noFill/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2A31-4005-AF6B-3B3192083145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95</c:v>
                </c:pt>
                <c:pt idx="1">
                  <c:v>5.00000000000000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A31-4005-AF6B-3B31920831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504424778761062"/>
          <c:y val="0.11504424778761062"/>
          <c:w val="0.76991150442477874"/>
          <c:h val="0.76991150442477874"/>
        </c:manualLayout>
      </c:layout>
      <c:pieChart>
        <c:varyColors val="0"/>
        <c:ser>
          <c:idx val="0"/>
          <c:order val="0"/>
          <c:spPr>
            <a:solidFill>
              <a:srgbClr val="A06F2A"/>
            </a:solidFill>
          </c:spPr>
          <c:dPt>
            <c:idx val="0"/>
            <c:bubble3D val="0"/>
            <c:spPr>
              <a:solidFill>
                <a:srgbClr val="A06F2A"/>
              </a:solidFill>
              <a:ln w="9525" algn="ctr">
                <a:noFill/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125D-4B2A-92F5-7CC36A19D93A}"/>
              </c:ext>
            </c:extLst>
          </c:dPt>
          <c:dPt>
            <c:idx val="1"/>
            <c:bubble3D val="0"/>
            <c:spPr>
              <a:solidFill>
                <a:schemeClr val="bg1"/>
              </a:solidFill>
              <a:ln w="9525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125D-4B2A-92F5-7CC36A19D93A}"/>
              </c:ext>
            </c:extLst>
          </c:dPt>
          <c:val>
            <c:numRef>
              <c:f>Sheet1!$A$1:$A$2</c:f>
              <c:numCache>
                <c:formatCode>General</c:formatCode>
                <c:ptCount val="2"/>
                <c:pt idx="0">
                  <c:v>5</c:v>
                </c:pt>
                <c:pt idx="1">
                  <c:v>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25D-4B2A-92F5-7CC36A19D9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8566340160284955E-2"/>
          <c:y val="3.5186794092093833E-2"/>
          <c:w val="0.91599881270406647"/>
          <c:h val="0.92962641181581229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F0CB69"/>
            </a:solidFill>
            <a:ln w="19050">
              <a:solidFill>
                <a:srgbClr val="A06F2A"/>
              </a:solidFill>
            </a:ln>
          </c:spPr>
          <c:invertIfNegative val="0"/>
          <c:val>
            <c:numRef>
              <c:f>Sheet1!$A$1:$B$1</c:f>
              <c:numCache>
                <c:formatCode>General</c:formatCode>
                <c:ptCount val="2"/>
                <c:pt idx="0">
                  <c:v>5.2</c:v>
                </c:pt>
                <c:pt idx="1">
                  <c:v>6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27C-4091-B193-9CFAFC96E9E3}"/>
            </c:ext>
          </c:extLst>
        </c:ser>
        <c:ser>
          <c:idx val="1"/>
          <c:order val="1"/>
          <c:spPr>
            <a:solidFill>
              <a:srgbClr val="C9E7E4"/>
            </a:solidFill>
            <a:ln w="19050">
              <a:solidFill>
                <a:srgbClr val="A06F2A"/>
              </a:solidFill>
            </a:ln>
          </c:spPr>
          <c:invertIfNegative val="0"/>
          <c:val>
            <c:numRef>
              <c:f>Sheet1!$A$2:$B$2</c:f>
              <c:numCache>
                <c:formatCode>General</c:formatCode>
                <c:ptCount val="2"/>
                <c:pt idx="0">
                  <c:v>1.4</c:v>
                </c:pt>
                <c:pt idx="1">
                  <c:v>2.20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27C-4091-B193-9CFAFC96E9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410642927"/>
        <c:axId val="1"/>
      </c:barChart>
      <c:catAx>
        <c:axId val="1410642927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19050" algn="ctr">
            <a:solidFill>
              <a:srgbClr val="A06F2A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7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19050" algn="ctr">
            <a:solidFill>
              <a:srgbClr val="A06F2A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rgbClr val="A06F2A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410642927"/>
        <c:crosses val="min"/>
        <c:crossBetween val="between"/>
        <c:majorUnit val="1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262697022767076"/>
          <c:y val="3.9282250242483024E-2"/>
          <c:w val="0.87915936952714535"/>
          <c:h val="0.921435499515033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FC00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C9E7E4"/>
              </a:solidFill>
              <a:ln w="19050">
                <a:solidFill>
                  <a:srgbClr val="A06F2A"/>
                </a:solidFill>
              </a:ln>
            </c:spPr>
            <c:extLst>
              <c:ext xmlns:c16="http://schemas.microsoft.com/office/drawing/2014/chart" uri="{C3380CC4-5D6E-409C-BE32-E72D297353CC}">
                <c16:uniqueId val="{00000000-1034-4871-8AB8-31BCEECF8356}"/>
              </c:ext>
            </c:extLst>
          </c:dPt>
          <c:dPt>
            <c:idx val="1"/>
            <c:invertIfNegative val="0"/>
            <c:bubble3D val="0"/>
            <c:spPr>
              <a:solidFill>
                <a:srgbClr val="F0CB69"/>
              </a:solidFill>
              <a:ln w="19050">
                <a:solidFill>
                  <a:srgbClr val="A06F2A"/>
                </a:solidFill>
              </a:ln>
            </c:spPr>
            <c:extLst>
              <c:ext xmlns:c16="http://schemas.microsoft.com/office/drawing/2014/chart" uri="{C3380CC4-5D6E-409C-BE32-E72D297353CC}">
                <c16:uniqueId val="{00000002-DAF5-40EA-8E33-974777B94765}"/>
              </c:ext>
            </c:extLst>
          </c:dPt>
          <c:val>
            <c:numRef>
              <c:f>Sheet1!$A$1:$B$1</c:f>
              <c:numCache>
                <c:formatCode>General</c:formatCode>
                <c:ptCount val="2"/>
                <c:pt idx="0">
                  <c:v>71</c:v>
                </c:pt>
                <c:pt idx="1">
                  <c:v>8.30000000000000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034-4871-8AB8-31BCEECF835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360011679"/>
        <c:axId val="1"/>
      </c:barChart>
      <c:catAx>
        <c:axId val="136001167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19050" algn="ctr">
            <a:solidFill>
              <a:srgbClr val="A06F2A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19050" algn="ctr">
            <a:solidFill>
              <a:srgbClr val="A06F2A"/>
            </a:solidFill>
            <a:prstDash val="solid"/>
          </a:ln>
        </c:spPr>
        <c:txPr>
          <a:bodyPr wrap="none"/>
          <a:lstStyle/>
          <a:p>
            <a:pPr>
              <a:defRPr sz="1400">
                <a:solidFill>
                  <a:srgbClr val="A06F2A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360011679"/>
        <c:crosses val="min"/>
        <c:crossBetween val="between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8067068634885977E-2"/>
          <c:y val="2.6455393845128319E-2"/>
          <c:w val="0.92372057939136709"/>
          <c:h val="0.89652052549716699"/>
        </c:manualLayout>
      </c:layout>
      <c:barChart>
        <c:barDir val="col"/>
        <c:grouping val="clustered"/>
        <c:varyColors val="0"/>
        <c:ser>
          <c:idx val="0"/>
          <c:order val="0"/>
          <c:spPr>
            <a:pattFill prst="narHorz">
              <a:fgClr>
                <a:schemeClr val="accent1"/>
              </a:fgClr>
              <a:bgClr>
                <a:schemeClr val="accent1">
                  <a:lumMod val="20000"/>
                  <a:lumOff val="80000"/>
                </a:schemeClr>
              </a:bgClr>
            </a:pattFill>
            <a:ln>
              <a:noFill/>
            </a:ln>
            <a:effectLst>
              <a:innerShdw blurRad="114300">
                <a:schemeClr val="accent1"/>
              </a:innerShdw>
            </a:effectLst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2EFA-4B67-BD4A-66BBD82E0711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2EFA-4B67-BD4A-66BBD82E0711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2EFA-4B67-BD4A-66BBD82E0711}"/>
              </c:ext>
            </c:extLst>
          </c:dPt>
          <c:dLbls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EFA-4B67-BD4A-66BBD82E071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krobat Light" panose="00000500000000000000" pitchFamily="50" charset="-52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10'!$A$3:$A$5</c:f>
              <c:strCache>
                <c:ptCount val="3"/>
                <c:pt idx="0">
                  <c:v>Сухожилия</c:v>
                </c:pt>
                <c:pt idx="1">
                  <c:v>Гиалиновый Хрящ</c:v>
                </c:pt>
                <c:pt idx="2">
                  <c:v>Связки</c:v>
                </c:pt>
              </c:strCache>
            </c:strRef>
          </c:cat>
          <c:val>
            <c:numRef>
              <c:f>'10'!$B$3:$B$5</c:f>
              <c:numCache>
                <c:formatCode>0%</c:formatCode>
                <c:ptCount val="3"/>
                <c:pt idx="0">
                  <c:v>0.22</c:v>
                </c:pt>
                <c:pt idx="1">
                  <c:v>0.56000000000000005</c:v>
                </c:pt>
                <c:pt idx="2">
                  <c:v>0.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EFA-4B67-BD4A-66BBD82E07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4"/>
        <c:overlap val="-22"/>
        <c:axId val="45991424"/>
        <c:axId val="45992960"/>
      </c:barChart>
      <c:catAx>
        <c:axId val="4599142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19050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45992960"/>
        <c:crosses val="autoZero"/>
        <c:auto val="1"/>
        <c:lblAlgn val="ctr"/>
        <c:lblOffset val="100"/>
        <c:noMultiLvlLbl val="0"/>
      </c:catAx>
      <c:valAx>
        <c:axId val="45992960"/>
        <c:scaling>
          <c:orientation val="minMax"/>
          <c:max val="0.70000000000000007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459914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 b="1"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66240182714741"/>
          <c:y val="0.1079656272759817"/>
          <c:w val="0.87594226990225499"/>
          <c:h val="0.77339445943914731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</c:spPr>
            <c:extLst>
              <c:ext xmlns:c16="http://schemas.microsoft.com/office/drawing/2014/chart" uri="{C3380CC4-5D6E-409C-BE32-E72D297353CC}">
                <c16:uniqueId val="{00000001-DB35-49DE-8E52-74FF6823A06A}"/>
              </c:ext>
            </c:extLst>
          </c:dPt>
          <c:dPt>
            <c:idx val="1"/>
            <c:invertIfNegative val="0"/>
            <c:bubble3D val="0"/>
            <c:spPr>
              <a:solidFill>
                <a:srgbClr val="FFD03B"/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</c:spPr>
            <c:extLst>
              <c:ext xmlns:c16="http://schemas.microsoft.com/office/drawing/2014/chart" uri="{C3380CC4-5D6E-409C-BE32-E72D297353CC}">
                <c16:uniqueId val="{00000003-DB35-49DE-8E52-74FF6823A06A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  <a:ln>
                <a:noFill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threePt" dir="t">
                  <a:rot lat="0" lon="0" rev="1200000"/>
                </a:lightRig>
              </a:scene3d>
            </c:spPr>
            <c:extLst>
              <c:ext xmlns:c16="http://schemas.microsoft.com/office/drawing/2014/chart" uri="{C3380CC4-5D6E-409C-BE32-E72D297353CC}">
                <c16:uniqueId val="{00000005-DB35-49DE-8E52-74FF6823A06A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9'!$A$3:$A$5</c:f>
              <c:strCache>
                <c:ptCount val="3"/>
                <c:pt idx="0">
                  <c:v>Глюкозамина Гидрохлорид</c:v>
                </c:pt>
                <c:pt idx="1">
                  <c:v>Хондроитина Сульфат</c:v>
                </c:pt>
                <c:pt idx="2">
                  <c:v>Глюкозамина Гидрохлорид + Хондроитина Сульфат</c:v>
                </c:pt>
              </c:strCache>
            </c:strRef>
          </c:cat>
          <c:val>
            <c:numRef>
              <c:f>'9'!$B$3:$B$5</c:f>
              <c:numCache>
                <c:formatCode>0%</c:formatCode>
                <c:ptCount val="3"/>
                <c:pt idx="0">
                  <c:v>0.32</c:v>
                </c:pt>
                <c:pt idx="1">
                  <c:v>0.32</c:v>
                </c:pt>
                <c:pt idx="2">
                  <c:v>0.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B35-49DE-8E52-74FF6823A0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8839936"/>
        <c:axId val="98870784"/>
      </c:barChart>
      <c:catAx>
        <c:axId val="9883993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98870784"/>
        <c:crosses val="autoZero"/>
        <c:auto val="1"/>
        <c:lblAlgn val="ctr"/>
        <c:lblOffset val="100"/>
        <c:noMultiLvlLbl val="0"/>
      </c:catAx>
      <c:valAx>
        <c:axId val="98870784"/>
        <c:scaling>
          <c:orientation val="minMax"/>
        </c:scaling>
        <c:delete val="0"/>
        <c:axPos val="l"/>
        <c:numFmt formatCode="0%" sourceLinked="0"/>
        <c:majorTickMark val="out"/>
        <c:minorTickMark val="none"/>
        <c:tickLblPos val="nextTo"/>
        <c:crossAx val="98839936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100"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4.4958578003031407E-2"/>
          <c:y val="0.28364239380855638"/>
          <c:w val="0.65213955058335404"/>
          <c:h val="0.6559508709709245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1 степень АГ</c:v>
                </c:pt>
              </c:strCache>
            </c:strRef>
          </c:tx>
          <c:spPr>
            <a:ln w="57150"/>
          </c:spPr>
          <c:invertIfNegative val="0"/>
          <c:dLbls>
            <c:dLbl>
              <c:idx val="0"/>
              <c:layout>
                <c:manualLayout>
                  <c:x val="-2.5027789426282688E-2"/>
                  <c:y val="-1.068862718957143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E52-48B0-9FBC-0C3FADCFB538}"/>
                </c:ext>
              </c:extLst>
            </c:dLbl>
            <c:dLbl>
              <c:idx val="1"/>
              <c:layout>
                <c:manualLayout>
                  <c:x val="-2.0032797170160221E-2"/>
                  <c:y val="2.291412065326077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E52-48B0-9FBC-0C3FADCFB538}"/>
                </c:ext>
              </c:extLst>
            </c:dLbl>
            <c:dLbl>
              <c:idx val="2"/>
              <c:layout>
                <c:manualLayout>
                  <c:x val="-1.5037622748018136E-2"/>
                  <c:y val="1.374384327667306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E52-48B0-9FBC-0C3FADCFB53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Тревожное расстройство</c:v>
                </c:pt>
                <c:pt idx="1">
                  <c:v>Депрессивное расстройство</c:v>
                </c:pt>
                <c:pt idx="2">
                  <c:v>Смешанное расстройство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-11.6</c:v>
                </c:pt>
                <c:pt idx="1">
                  <c:v>-12.57</c:v>
                </c:pt>
                <c:pt idx="2">
                  <c:v>-13.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E52-48B0-9FBC-0C3FADCFB538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 степень АГ</c:v>
                </c:pt>
              </c:strCache>
            </c:strRef>
          </c:tx>
          <c:spPr>
            <a:ln w="38100"/>
          </c:spPr>
          <c:invertIfNegative val="0"/>
          <c:dLbls>
            <c:dLbl>
              <c:idx val="0"/>
              <c:layout>
                <c:manualLayout>
                  <c:x val="4.4342569712591484E-2"/>
                  <c:y val="-1.560254875419503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E52-48B0-9FBC-0C3FADCFB538}"/>
                </c:ext>
              </c:extLst>
            </c:dLbl>
            <c:dLbl>
              <c:idx val="1"/>
              <c:layout>
                <c:manualLayout>
                  <c:x val="-8.5178866117266317E-3"/>
                  <c:y val="-4.580840224102090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E52-48B0-9FBC-0C3FADCFB538}"/>
                </c:ext>
              </c:extLst>
            </c:dLbl>
            <c:dLbl>
              <c:idx val="2"/>
              <c:layout>
                <c:manualLayout>
                  <c:x val="2.8392955372422242E-3"/>
                  <c:y val="-4.580659868961173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8E52-48B0-9FBC-0C3FADCFB53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Тревожное расстройство</c:v>
                </c:pt>
                <c:pt idx="1">
                  <c:v>Депрессивное расстройство</c:v>
                </c:pt>
                <c:pt idx="2">
                  <c:v>Смешанное расстройство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-12.07</c:v>
                </c:pt>
                <c:pt idx="1">
                  <c:v>-12.75</c:v>
                </c:pt>
                <c:pt idx="2">
                  <c:v>-14.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8E52-48B0-9FBC-0C3FADCFB538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3 степень АГ</c:v>
                </c:pt>
              </c:strCache>
            </c:strRef>
          </c:tx>
          <c:spPr>
            <a:ln w="57150"/>
          </c:spPr>
          <c:invertIfNegative val="0"/>
          <c:dLbls>
            <c:dLbl>
              <c:idx val="0"/>
              <c:layout>
                <c:manualLayout>
                  <c:x val="-4.0238274086291992E-2"/>
                  <c:y val="1.374362985043227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8E52-48B0-9FBC-0C3FADCFB538}"/>
                </c:ext>
              </c:extLst>
            </c:dLbl>
            <c:dLbl>
              <c:idx val="1"/>
              <c:layout>
                <c:manualLayout>
                  <c:x val="1.4196477686211641E-3"/>
                  <c:y val="9.162221513626927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8E52-48B0-9FBC-0C3FADCFB53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Тревожное расстройство</c:v>
                </c:pt>
                <c:pt idx="1">
                  <c:v>Депрессивное расстройство</c:v>
                </c:pt>
                <c:pt idx="2">
                  <c:v>Смешанное расстройство</c:v>
                </c:pt>
              </c:strCache>
            </c:strRef>
          </c:cat>
          <c:val>
            <c:numRef>
              <c:f>Лист1!$D$2:$D$4</c:f>
              <c:numCache>
                <c:formatCode>General</c:formatCode>
                <c:ptCount val="3"/>
                <c:pt idx="0">
                  <c:v>-12.38</c:v>
                </c:pt>
                <c:pt idx="1">
                  <c:v>-16.190000000000001</c:v>
                </c:pt>
                <c:pt idx="2">
                  <c:v>-17.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8E52-48B0-9FBC-0C3FADCFB5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62721536"/>
        <c:axId val="562723072"/>
      </c:barChart>
      <c:catAx>
        <c:axId val="562721536"/>
        <c:scaling>
          <c:orientation val="minMax"/>
        </c:scaling>
        <c:delete val="0"/>
        <c:axPos val="b"/>
        <c:numFmt formatCode="General" sourceLinked="0"/>
        <c:majorTickMark val="cross"/>
        <c:minorTickMark val="none"/>
        <c:tickLblPos val="high"/>
        <c:crossAx val="562723072"/>
        <c:crosses val="autoZero"/>
        <c:auto val="0"/>
        <c:lblAlgn val="ctr"/>
        <c:lblOffset val="100"/>
        <c:noMultiLvlLbl val="0"/>
      </c:catAx>
      <c:valAx>
        <c:axId val="562723072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crossAx val="56272153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17392068074775371"/>
          <c:y val="0.8719480411836783"/>
          <c:w val="0.36155326302057594"/>
          <c:h val="0.11389913123741514"/>
        </c:manualLayout>
      </c:layout>
      <c:overlay val="0"/>
      <c:txPr>
        <a:bodyPr/>
        <a:lstStyle/>
        <a:p>
          <a:pPr>
            <a:defRPr sz="1200"/>
          </a:pPr>
          <a:endParaRPr lang="ru-RU"/>
        </a:p>
      </c:txPr>
    </c:legend>
    <c:plotVisOnly val="1"/>
    <c:dispBlanksAs val="gap"/>
    <c:showDLblsOverMax val="0"/>
  </c:chart>
  <c:spPr>
    <a:ln w="57150"/>
  </c:spPr>
  <c:txPr>
    <a:bodyPr/>
    <a:lstStyle/>
    <a:p>
      <a:pPr>
        <a:defRPr sz="1000"/>
      </a:pPr>
      <a:endParaRPr lang="ru-RU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3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9050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>
      <cs:styleClr val="auto"/>
    </cs:effectRef>
    <cs:fontRef idx="minor">
      <a:schemeClr val="dk1"/>
    </cs:fontRef>
    <cs:spPr>
      <a:pattFill prst="narHorz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pattFill prst="narHorz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2200" b="1" kern="1200" cap="all" spc="1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6_1">
  <dgm:title val=""/>
  <dgm:desc val=""/>
  <dgm:catLst>
    <dgm:cat type="accent6" pri="11100"/>
  </dgm:catLst>
  <dgm:styleLbl name="node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6">
        <a:alpha val="4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65CA0BB-A31D-4C15-A58A-CEED90870B5A}" type="doc">
      <dgm:prSet loTypeId="urn:microsoft.com/office/officeart/2008/layout/VerticalCurvedList" loCatId="list" qsTypeId="urn:microsoft.com/office/officeart/2005/8/quickstyle/simple1" qsCatId="simple" csTypeId="urn:microsoft.com/office/officeart/2005/8/colors/accent6_1" csCatId="accent6" phldr="1"/>
      <dgm:spPr/>
      <dgm:t>
        <a:bodyPr/>
        <a:lstStyle/>
        <a:p>
          <a:endParaRPr lang="ru-RU"/>
        </a:p>
      </dgm:t>
    </dgm:pt>
    <dgm:pt modelId="{B0B62AFC-11C9-4C4E-B2B6-8D592EFBCA9B}">
      <dgm:prSet phldrT="[Text]" custT="1"/>
      <dgm:spPr>
        <a:ln>
          <a:noFill/>
        </a:ln>
      </dgm:spPr>
      <dgm:t>
        <a:bodyPr/>
        <a:lstStyle/>
        <a:p>
          <a:pPr>
            <a:buFont typeface="Wingdings" panose="05000000000000000000" pitchFamily="2" charset="2"/>
            <a:buNone/>
          </a:pPr>
          <a:r>
            <a:rPr lang="ru-RU" sz="1600" dirty="0">
              <a:solidFill>
                <a:srgbClr val="A06F2A"/>
              </a:solidFill>
              <a:latin typeface="Arial" panose="020B0604020202020204" pitchFamily="34" charset="0"/>
              <a:cs typeface="Arial" panose="020B0604020202020204" pitchFamily="34" charset="0"/>
            </a:rPr>
            <a:t>Неоплазия </a:t>
          </a:r>
        </a:p>
      </dgm:t>
    </dgm:pt>
    <dgm:pt modelId="{D3842B3A-C86A-4E71-B450-C15A15BBB04D}" type="parTrans" cxnId="{D0830A46-122A-4B0E-A935-E9F9C2C4F8F7}">
      <dgm:prSet/>
      <dgm:spPr/>
      <dgm:t>
        <a:bodyPr/>
        <a:lstStyle/>
        <a:p>
          <a:endParaRPr lang="ru-RU" sz="2000"/>
        </a:p>
      </dgm:t>
    </dgm:pt>
    <dgm:pt modelId="{98888C5D-11B7-446F-B2CA-25F1A5572FEB}" type="sibTrans" cxnId="{D0830A46-122A-4B0E-A935-E9F9C2C4F8F7}">
      <dgm:prSet/>
      <dgm:spPr/>
      <dgm:t>
        <a:bodyPr/>
        <a:lstStyle/>
        <a:p>
          <a:endParaRPr lang="ru-RU" sz="2000"/>
        </a:p>
      </dgm:t>
    </dgm:pt>
    <dgm:pt modelId="{1881D1D3-956F-4A6D-B2FC-15EA850283E6}">
      <dgm:prSet phldrT="[Text]" phldr="1"/>
      <dgm:spPr/>
      <dgm:t>
        <a:bodyPr/>
        <a:lstStyle/>
        <a:p>
          <a:endParaRPr lang="ru-RU" sz="2000">
            <a:solidFill>
              <a:srgbClr val="000000"/>
            </a:solidFill>
          </a:endParaRPr>
        </a:p>
      </dgm:t>
    </dgm:pt>
    <dgm:pt modelId="{EC34A357-D4C2-4909-B74A-A6131629F2EA}" type="parTrans" cxnId="{B883083A-5575-44DB-B6A0-0138654DEC6A}">
      <dgm:prSet/>
      <dgm:spPr/>
      <dgm:t>
        <a:bodyPr/>
        <a:lstStyle/>
        <a:p>
          <a:endParaRPr lang="ru-RU" sz="2000"/>
        </a:p>
      </dgm:t>
    </dgm:pt>
    <dgm:pt modelId="{B2338020-FDD4-49F4-A5E9-AAF241FF74A1}" type="sibTrans" cxnId="{B883083A-5575-44DB-B6A0-0138654DEC6A}">
      <dgm:prSet/>
      <dgm:spPr/>
      <dgm:t>
        <a:bodyPr/>
        <a:lstStyle/>
        <a:p>
          <a:endParaRPr lang="ru-RU" sz="2000"/>
        </a:p>
      </dgm:t>
    </dgm:pt>
    <dgm:pt modelId="{558E7A5F-DE97-405B-B79D-8DB4DD261554}">
      <dgm:prSet phldrT="[Text]" phldr="1"/>
      <dgm:spPr/>
      <dgm:t>
        <a:bodyPr/>
        <a:lstStyle/>
        <a:p>
          <a:endParaRPr lang="ru-RU" sz="2000"/>
        </a:p>
      </dgm:t>
    </dgm:pt>
    <dgm:pt modelId="{A6248C85-FE59-4501-8519-0E3BFF30B339}" type="parTrans" cxnId="{DBD03A04-3171-4BC0-BEA6-47A5B1012DA7}">
      <dgm:prSet/>
      <dgm:spPr/>
      <dgm:t>
        <a:bodyPr/>
        <a:lstStyle/>
        <a:p>
          <a:endParaRPr lang="ru-RU" sz="2000"/>
        </a:p>
      </dgm:t>
    </dgm:pt>
    <dgm:pt modelId="{7BB5BF9B-4248-4B45-8EC2-72C7A0E4884A}" type="sibTrans" cxnId="{DBD03A04-3171-4BC0-BEA6-47A5B1012DA7}">
      <dgm:prSet/>
      <dgm:spPr/>
      <dgm:t>
        <a:bodyPr/>
        <a:lstStyle/>
        <a:p>
          <a:endParaRPr lang="ru-RU" sz="2000"/>
        </a:p>
      </dgm:t>
    </dgm:pt>
    <dgm:pt modelId="{07CA2BC4-2770-46BF-960E-172DF4EB7FE7}">
      <dgm:prSet phldrT="[Text]" custT="1"/>
      <dgm:spPr>
        <a:ln>
          <a:noFill/>
        </a:ln>
      </dgm:spPr>
      <dgm:t>
        <a:bodyPr/>
        <a:lstStyle/>
        <a:p>
          <a:pPr>
            <a:spcAft>
              <a:spcPts val="0"/>
            </a:spcAft>
            <a:buFont typeface="Wingdings" panose="05000000000000000000" pitchFamily="2" charset="2"/>
            <a:buNone/>
          </a:pPr>
          <a:r>
            <a:rPr lang="ru-RU" sz="1600" kern="100" baseline="0" dirty="0">
              <a:solidFill>
                <a:srgbClr val="A06F2A"/>
              </a:solidFill>
              <a:latin typeface="Arial" panose="020B0604020202020204" pitchFamily="34" charset="0"/>
              <a:cs typeface="Arial" panose="020B0604020202020204" pitchFamily="34" charset="0"/>
            </a:rPr>
            <a:t>Инфекция (остеомиелит, </a:t>
          </a:r>
          <a:r>
            <a:rPr lang="ru-RU" sz="1600" kern="100" baseline="0" dirty="0" err="1">
              <a:solidFill>
                <a:srgbClr val="A06F2A"/>
              </a:solidFill>
              <a:latin typeface="Arial" panose="020B0604020202020204" pitchFamily="34" charset="0"/>
              <a:cs typeface="Arial" panose="020B0604020202020204" pitchFamily="34" charset="0"/>
            </a:rPr>
            <a:t>эпидуральный</a:t>
          </a:r>
          <a:r>
            <a:rPr lang="ru-RU" sz="1600" kern="100" baseline="0" dirty="0">
              <a:solidFill>
                <a:srgbClr val="A06F2A"/>
              </a:solidFill>
              <a:latin typeface="Arial" panose="020B0604020202020204" pitchFamily="34" charset="0"/>
              <a:cs typeface="Arial" panose="020B0604020202020204" pitchFamily="34" charset="0"/>
            </a:rPr>
            <a:t> абсцесс)</a:t>
          </a:r>
        </a:p>
      </dgm:t>
    </dgm:pt>
    <dgm:pt modelId="{844FA914-E79B-4CEE-B5C4-BAD980048D8D}" type="parTrans" cxnId="{C1A6BDE2-1D10-4F6A-8559-3AE7640C0F1A}">
      <dgm:prSet/>
      <dgm:spPr/>
      <dgm:t>
        <a:bodyPr/>
        <a:lstStyle/>
        <a:p>
          <a:endParaRPr lang="ru-RU" sz="2000"/>
        </a:p>
      </dgm:t>
    </dgm:pt>
    <dgm:pt modelId="{6B90BB19-F90F-42A1-A346-210EAA5D8DDA}" type="sibTrans" cxnId="{C1A6BDE2-1D10-4F6A-8559-3AE7640C0F1A}">
      <dgm:prSet/>
      <dgm:spPr/>
      <dgm:t>
        <a:bodyPr/>
        <a:lstStyle/>
        <a:p>
          <a:endParaRPr lang="ru-RU" sz="2000"/>
        </a:p>
      </dgm:t>
    </dgm:pt>
    <dgm:pt modelId="{A1CA075E-5414-4D93-BA8D-8B71FFF36D46}">
      <dgm:prSet phldrT="[Text]" custT="1"/>
      <dgm:spPr>
        <a:ln>
          <a:noFill/>
        </a:ln>
      </dgm:spPr>
      <dgm:t>
        <a:bodyPr/>
        <a:lstStyle/>
        <a:p>
          <a:pPr>
            <a:buFont typeface="Wingdings" panose="05000000000000000000" pitchFamily="2" charset="2"/>
            <a:buNone/>
          </a:pPr>
          <a:r>
            <a:rPr lang="ru-RU" sz="1600" dirty="0">
              <a:solidFill>
                <a:srgbClr val="A06F2A"/>
              </a:solidFill>
              <a:latin typeface="Arial" panose="020B0604020202020204" pitchFamily="34" charset="0"/>
              <a:cs typeface="Arial" panose="020B0604020202020204" pitchFamily="34" charset="0"/>
            </a:rPr>
            <a:t>Воспалительный артроз</a:t>
          </a:r>
        </a:p>
      </dgm:t>
    </dgm:pt>
    <dgm:pt modelId="{0266399F-C939-4ACA-8243-E5DE769A9816}" type="parTrans" cxnId="{42C831E7-6CC8-4F6E-B3D1-27282AB4EB59}">
      <dgm:prSet/>
      <dgm:spPr/>
      <dgm:t>
        <a:bodyPr/>
        <a:lstStyle/>
        <a:p>
          <a:endParaRPr lang="ru-RU" sz="2000"/>
        </a:p>
      </dgm:t>
    </dgm:pt>
    <dgm:pt modelId="{CDC869D4-EC76-4AC4-B645-9182F8C32C36}" type="sibTrans" cxnId="{42C831E7-6CC8-4F6E-B3D1-27282AB4EB59}">
      <dgm:prSet/>
      <dgm:spPr/>
      <dgm:t>
        <a:bodyPr/>
        <a:lstStyle/>
        <a:p>
          <a:endParaRPr lang="ru-RU" sz="2000"/>
        </a:p>
      </dgm:t>
    </dgm:pt>
    <dgm:pt modelId="{B6AFCB01-8999-49A9-A45D-49DD8CAA1D9A}">
      <dgm:prSet phldrT="[Text]" custT="1"/>
      <dgm:spPr>
        <a:ln>
          <a:noFill/>
        </a:ln>
      </dgm:spPr>
      <dgm:t>
        <a:bodyPr/>
        <a:lstStyle/>
        <a:p>
          <a:pPr>
            <a:buFont typeface="Wingdings" panose="05000000000000000000" pitchFamily="2" charset="2"/>
            <a:buNone/>
          </a:pPr>
          <a:r>
            <a:rPr lang="ru-RU" sz="1600" dirty="0">
              <a:solidFill>
                <a:srgbClr val="A06F2A"/>
              </a:solidFill>
              <a:latin typeface="Arial" panose="020B0604020202020204" pitchFamily="34" charset="0"/>
              <a:cs typeface="Arial" panose="020B0604020202020204" pitchFamily="34" charset="0"/>
            </a:rPr>
            <a:t>Заболевания органов малого таза (простатит, </a:t>
          </a:r>
          <a:r>
            <a:rPr lang="ru-RU" sz="1600" dirty="0" err="1">
              <a:solidFill>
                <a:srgbClr val="A06F2A"/>
              </a:solidFill>
              <a:latin typeface="Arial" panose="020B0604020202020204" pitchFamily="34" charset="0"/>
              <a:cs typeface="Arial" panose="020B0604020202020204" pitchFamily="34" charset="0"/>
            </a:rPr>
            <a:t>эндометриоз</a:t>
          </a:r>
          <a:r>
            <a:rPr lang="ru-RU" sz="1600" dirty="0">
              <a:solidFill>
                <a:srgbClr val="A06F2A"/>
              </a:solidFill>
              <a:latin typeface="Arial" panose="020B0604020202020204" pitchFamily="34" charset="0"/>
              <a:cs typeface="Arial" panose="020B0604020202020204" pitchFamily="34" charset="0"/>
            </a:rPr>
            <a:t>)</a:t>
          </a:r>
        </a:p>
      </dgm:t>
    </dgm:pt>
    <dgm:pt modelId="{21749ED4-8493-4D3A-9F54-72FC6A5F59BB}" type="parTrans" cxnId="{E7628FB7-B363-489D-8642-1466241AF529}">
      <dgm:prSet/>
      <dgm:spPr/>
      <dgm:t>
        <a:bodyPr/>
        <a:lstStyle/>
        <a:p>
          <a:endParaRPr lang="ru-RU" sz="2000"/>
        </a:p>
      </dgm:t>
    </dgm:pt>
    <dgm:pt modelId="{0EDE8F3F-455B-468D-B1D8-E2C308F9362E}" type="sibTrans" cxnId="{E7628FB7-B363-489D-8642-1466241AF529}">
      <dgm:prSet/>
      <dgm:spPr/>
      <dgm:t>
        <a:bodyPr/>
        <a:lstStyle/>
        <a:p>
          <a:endParaRPr lang="ru-RU" sz="2000"/>
        </a:p>
      </dgm:t>
    </dgm:pt>
    <dgm:pt modelId="{98E07574-8470-4AA5-A731-6760BD7AE344}">
      <dgm:prSet phldrT="[Text]" custT="1"/>
      <dgm:spPr>
        <a:ln>
          <a:noFill/>
        </a:ln>
      </dgm:spPr>
      <dgm:t>
        <a:bodyPr/>
        <a:lstStyle/>
        <a:p>
          <a:pPr>
            <a:buFont typeface="Wingdings" panose="05000000000000000000" pitchFamily="2" charset="2"/>
            <a:buNone/>
          </a:pPr>
          <a:r>
            <a:rPr lang="ru-RU" sz="1600" dirty="0">
              <a:solidFill>
                <a:srgbClr val="A06F2A"/>
              </a:solidFill>
              <a:latin typeface="Arial" panose="020B0604020202020204" pitchFamily="34" charset="0"/>
              <a:cs typeface="Arial" panose="020B0604020202020204" pitchFamily="34" charset="0"/>
            </a:rPr>
            <a:t>Патологии почек</a:t>
          </a:r>
        </a:p>
      </dgm:t>
    </dgm:pt>
    <dgm:pt modelId="{9C7A8D64-84E5-4CEB-AB2C-D7C6997276B6}" type="parTrans" cxnId="{5CB391C2-F22A-4363-AD9D-C578808FDDDB}">
      <dgm:prSet/>
      <dgm:spPr/>
      <dgm:t>
        <a:bodyPr/>
        <a:lstStyle/>
        <a:p>
          <a:endParaRPr lang="ru-RU" sz="2000"/>
        </a:p>
      </dgm:t>
    </dgm:pt>
    <dgm:pt modelId="{C538C03B-C6A2-4601-9282-0C589ABBA98E}" type="sibTrans" cxnId="{5CB391C2-F22A-4363-AD9D-C578808FDDDB}">
      <dgm:prSet/>
      <dgm:spPr/>
      <dgm:t>
        <a:bodyPr/>
        <a:lstStyle/>
        <a:p>
          <a:endParaRPr lang="ru-RU" sz="2000"/>
        </a:p>
      </dgm:t>
    </dgm:pt>
    <dgm:pt modelId="{E90C29CD-562C-42E1-95FA-3FACE803828D}">
      <dgm:prSet phldrT="[Text]" custT="1"/>
      <dgm:spPr>
        <a:ln>
          <a:noFill/>
        </a:ln>
      </dgm:spPr>
      <dgm:t>
        <a:bodyPr/>
        <a:lstStyle/>
        <a:p>
          <a:pPr>
            <a:buFont typeface="Wingdings" panose="05000000000000000000" pitchFamily="2" charset="2"/>
            <a:buNone/>
          </a:pPr>
          <a:r>
            <a:rPr lang="ru-RU" sz="1600" dirty="0">
              <a:solidFill>
                <a:srgbClr val="A06F2A"/>
              </a:solidFill>
              <a:latin typeface="Arial" panose="020B0604020202020204" pitchFamily="34" charset="0"/>
              <a:cs typeface="Arial" panose="020B0604020202020204" pitchFamily="34" charset="0"/>
            </a:rPr>
            <a:t>Аневризма аорты</a:t>
          </a:r>
        </a:p>
      </dgm:t>
    </dgm:pt>
    <dgm:pt modelId="{30DC4B6A-8F53-4F07-B8ED-FC04DE6FBDCB}" type="parTrans" cxnId="{E7F3DB24-32D3-437A-AB97-A398FDE1EF7B}">
      <dgm:prSet/>
      <dgm:spPr/>
      <dgm:t>
        <a:bodyPr/>
        <a:lstStyle/>
        <a:p>
          <a:endParaRPr lang="ru-RU" sz="2000"/>
        </a:p>
      </dgm:t>
    </dgm:pt>
    <dgm:pt modelId="{333721D2-7180-451B-9C6F-C74118C2633E}" type="sibTrans" cxnId="{E7F3DB24-32D3-437A-AB97-A398FDE1EF7B}">
      <dgm:prSet/>
      <dgm:spPr/>
      <dgm:t>
        <a:bodyPr/>
        <a:lstStyle/>
        <a:p>
          <a:endParaRPr lang="ru-RU" sz="2000"/>
        </a:p>
      </dgm:t>
    </dgm:pt>
    <dgm:pt modelId="{ECB11329-C1B9-4BE6-ABBF-FCB74118B1D9}">
      <dgm:prSet phldrT="[Text]" custT="1"/>
      <dgm:spPr>
        <a:ln>
          <a:noFill/>
        </a:ln>
      </dgm:spPr>
      <dgm:t>
        <a:bodyPr/>
        <a:lstStyle/>
        <a:p>
          <a:pPr>
            <a:buFont typeface="Wingdings" panose="05000000000000000000" pitchFamily="2" charset="2"/>
            <a:buNone/>
          </a:pPr>
          <a:r>
            <a:rPr lang="ru-RU" sz="1600" dirty="0">
              <a:solidFill>
                <a:srgbClr val="A06F2A"/>
              </a:solidFill>
              <a:latin typeface="Arial" panose="020B0604020202020204" pitchFamily="34" charset="0"/>
              <a:cs typeface="Arial" panose="020B0604020202020204" pitchFamily="34" charset="0"/>
            </a:rPr>
            <a:t>Заболевания пищеварительного тракта</a:t>
          </a:r>
        </a:p>
      </dgm:t>
    </dgm:pt>
    <dgm:pt modelId="{788A1485-39AA-44CD-915A-EADD7CA04D20}" type="parTrans" cxnId="{695951B6-426F-42E8-A13E-0A40E563C383}">
      <dgm:prSet/>
      <dgm:spPr/>
      <dgm:t>
        <a:bodyPr/>
        <a:lstStyle/>
        <a:p>
          <a:endParaRPr lang="ru-RU" sz="2000"/>
        </a:p>
      </dgm:t>
    </dgm:pt>
    <dgm:pt modelId="{5D746288-62C9-4C02-B700-41E42C58139C}" type="sibTrans" cxnId="{695951B6-426F-42E8-A13E-0A40E563C383}">
      <dgm:prSet/>
      <dgm:spPr/>
      <dgm:t>
        <a:bodyPr/>
        <a:lstStyle/>
        <a:p>
          <a:endParaRPr lang="ru-RU" sz="2000"/>
        </a:p>
      </dgm:t>
    </dgm:pt>
    <dgm:pt modelId="{F87D2F52-AC43-45F8-9A9D-623E0CC674A2}" type="pres">
      <dgm:prSet presAssocID="{465CA0BB-A31D-4C15-A58A-CEED90870B5A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2BCF0542-5D13-4119-8126-A13878F21F85}" type="pres">
      <dgm:prSet presAssocID="{465CA0BB-A31D-4C15-A58A-CEED90870B5A}" presName="Name1" presStyleCnt="0"/>
      <dgm:spPr/>
    </dgm:pt>
    <dgm:pt modelId="{0455DF84-59E7-4A83-9A7D-638E601BBB90}" type="pres">
      <dgm:prSet presAssocID="{465CA0BB-A31D-4C15-A58A-CEED90870B5A}" presName="cycle" presStyleCnt="0"/>
      <dgm:spPr/>
    </dgm:pt>
    <dgm:pt modelId="{7C9186B5-0DF7-418F-8338-0484D05F9496}" type="pres">
      <dgm:prSet presAssocID="{465CA0BB-A31D-4C15-A58A-CEED90870B5A}" presName="srcNode" presStyleLbl="node1" presStyleIdx="0" presStyleCnt="7"/>
      <dgm:spPr/>
    </dgm:pt>
    <dgm:pt modelId="{F846143E-95EB-4DA8-82B3-86726CC51384}" type="pres">
      <dgm:prSet presAssocID="{465CA0BB-A31D-4C15-A58A-CEED90870B5A}" presName="conn" presStyleLbl="parChTrans1D2" presStyleIdx="0" presStyleCnt="1"/>
      <dgm:spPr/>
      <dgm:t>
        <a:bodyPr/>
        <a:lstStyle/>
        <a:p>
          <a:endParaRPr lang="ru-RU"/>
        </a:p>
      </dgm:t>
    </dgm:pt>
    <dgm:pt modelId="{595B51D4-1527-4F75-BDE8-EF4D154E3BEE}" type="pres">
      <dgm:prSet presAssocID="{465CA0BB-A31D-4C15-A58A-CEED90870B5A}" presName="extraNode" presStyleLbl="node1" presStyleIdx="0" presStyleCnt="7"/>
      <dgm:spPr/>
    </dgm:pt>
    <dgm:pt modelId="{9C865CAA-0CD0-447C-A738-59C742B9DF94}" type="pres">
      <dgm:prSet presAssocID="{465CA0BB-A31D-4C15-A58A-CEED90870B5A}" presName="dstNode" presStyleLbl="node1" presStyleIdx="0" presStyleCnt="7"/>
      <dgm:spPr/>
    </dgm:pt>
    <dgm:pt modelId="{B46533D8-47A8-4B1E-8D13-D7C5E2ED6A40}" type="pres">
      <dgm:prSet presAssocID="{B0B62AFC-11C9-4C4E-B2B6-8D592EFBCA9B}" presName="text_1" presStyleLbl="node1" presStyleIdx="0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186F307-7D47-4DA5-AD2D-4DC6F786DC5B}" type="pres">
      <dgm:prSet presAssocID="{B0B62AFC-11C9-4C4E-B2B6-8D592EFBCA9B}" presName="accent_1" presStyleCnt="0"/>
      <dgm:spPr/>
    </dgm:pt>
    <dgm:pt modelId="{2350CCD2-9603-4169-A770-09A6909EDF9C}" type="pres">
      <dgm:prSet presAssocID="{B0B62AFC-11C9-4C4E-B2B6-8D592EFBCA9B}" presName="accentRepeatNode" presStyleLbl="solidFgAcc1" presStyleIdx="0" presStyleCnt="7"/>
      <dgm:spPr>
        <a:solidFill>
          <a:srgbClr val="F0CB69"/>
        </a:solidFill>
        <a:ln>
          <a:solidFill>
            <a:srgbClr val="A06F2A"/>
          </a:solidFill>
        </a:ln>
      </dgm:spPr>
    </dgm:pt>
    <dgm:pt modelId="{E80DB7FD-160D-4EA6-A665-1BD42CACD671}" type="pres">
      <dgm:prSet presAssocID="{07CA2BC4-2770-46BF-960E-172DF4EB7FE7}" presName="text_2" presStyleLbl="node1" presStyleIdx="1" presStyleCnt="7" custScaleY="11729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2074660-8814-4B23-A79C-819DD2B3EBC8}" type="pres">
      <dgm:prSet presAssocID="{07CA2BC4-2770-46BF-960E-172DF4EB7FE7}" presName="accent_2" presStyleCnt="0"/>
      <dgm:spPr/>
    </dgm:pt>
    <dgm:pt modelId="{B461B531-D998-4C5A-95FC-A02906075840}" type="pres">
      <dgm:prSet presAssocID="{07CA2BC4-2770-46BF-960E-172DF4EB7FE7}" presName="accentRepeatNode" presStyleLbl="solidFgAcc1" presStyleIdx="1" presStyleCnt="7"/>
      <dgm:spPr>
        <a:solidFill>
          <a:srgbClr val="F0CB69"/>
        </a:solidFill>
        <a:ln>
          <a:solidFill>
            <a:srgbClr val="A06F2A"/>
          </a:solidFill>
        </a:ln>
      </dgm:spPr>
    </dgm:pt>
    <dgm:pt modelId="{DECF26E4-F3BD-4748-A6D3-0DB0B20D2272}" type="pres">
      <dgm:prSet presAssocID="{A1CA075E-5414-4D93-BA8D-8B71FFF36D46}" presName="text_3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C843D09-8A8F-4C0F-B205-F1077BAB2EA2}" type="pres">
      <dgm:prSet presAssocID="{A1CA075E-5414-4D93-BA8D-8B71FFF36D46}" presName="accent_3" presStyleCnt="0"/>
      <dgm:spPr/>
    </dgm:pt>
    <dgm:pt modelId="{46DBA976-E118-44E6-A291-F268A063F33F}" type="pres">
      <dgm:prSet presAssocID="{A1CA075E-5414-4D93-BA8D-8B71FFF36D46}" presName="accentRepeatNode" presStyleLbl="solidFgAcc1" presStyleIdx="2" presStyleCnt="7"/>
      <dgm:spPr>
        <a:solidFill>
          <a:srgbClr val="F0CB69"/>
        </a:solidFill>
        <a:ln>
          <a:solidFill>
            <a:srgbClr val="A06F2A"/>
          </a:solidFill>
        </a:ln>
      </dgm:spPr>
    </dgm:pt>
    <dgm:pt modelId="{35B42BBC-ACE7-4E2E-9C24-4E17A84F25AC}" type="pres">
      <dgm:prSet presAssocID="{B6AFCB01-8999-49A9-A45D-49DD8CAA1D9A}" presName="text_4" presStyleLbl="node1" presStyleIdx="3" presStyleCnt="7" custScaleY="12922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297D322-BAE1-45F3-BDB3-9A335CCDFED1}" type="pres">
      <dgm:prSet presAssocID="{B6AFCB01-8999-49A9-A45D-49DD8CAA1D9A}" presName="accent_4" presStyleCnt="0"/>
      <dgm:spPr/>
    </dgm:pt>
    <dgm:pt modelId="{670097E7-B637-4754-8949-546A9772CD23}" type="pres">
      <dgm:prSet presAssocID="{B6AFCB01-8999-49A9-A45D-49DD8CAA1D9A}" presName="accentRepeatNode" presStyleLbl="solidFgAcc1" presStyleIdx="3" presStyleCnt="7"/>
      <dgm:spPr>
        <a:solidFill>
          <a:srgbClr val="F0CB69"/>
        </a:solidFill>
        <a:ln>
          <a:solidFill>
            <a:srgbClr val="A06F2A"/>
          </a:solidFill>
        </a:ln>
      </dgm:spPr>
    </dgm:pt>
    <dgm:pt modelId="{72F46E3E-4747-4F9F-A42E-7E48D63F1CA2}" type="pres">
      <dgm:prSet presAssocID="{98E07574-8470-4AA5-A731-6760BD7AE344}" presName="text_5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069EBFF-0149-4E01-A0D5-E45FBF6C377D}" type="pres">
      <dgm:prSet presAssocID="{98E07574-8470-4AA5-A731-6760BD7AE344}" presName="accent_5" presStyleCnt="0"/>
      <dgm:spPr/>
    </dgm:pt>
    <dgm:pt modelId="{1420722D-DCB1-447D-98C3-CBEB73BD2DD0}" type="pres">
      <dgm:prSet presAssocID="{98E07574-8470-4AA5-A731-6760BD7AE344}" presName="accentRepeatNode" presStyleLbl="solidFgAcc1" presStyleIdx="4" presStyleCnt="7"/>
      <dgm:spPr>
        <a:solidFill>
          <a:srgbClr val="F0CB69"/>
        </a:solidFill>
        <a:ln>
          <a:solidFill>
            <a:srgbClr val="A06F2A"/>
          </a:solidFill>
        </a:ln>
      </dgm:spPr>
    </dgm:pt>
    <dgm:pt modelId="{1756DB16-098C-4314-B087-667B3D52D0FF}" type="pres">
      <dgm:prSet presAssocID="{E90C29CD-562C-42E1-95FA-3FACE803828D}" presName="text_6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FF538F7-B443-43D9-AD8C-00E82964B7E1}" type="pres">
      <dgm:prSet presAssocID="{E90C29CD-562C-42E1-95FA-3FACE803828D}" presName="accent_6" presStyleCnt="0"/>
      <dgm:spPr/>
    </dgm:pt>
    <dgm:pt modelId="{1200F0BD-B293-4996-9322-AED95E69B6AB}" type="pres">
      <dgm:prSet presAssocID="{E90C29CD-562C-42E1-95FA-3FACE803828D}" presName="accentRepeatNode" presStyleLbl="solidFgAcc1" presStyleIdx="5" presStyleCnt="7"/>
      <dgm:spPr>
        <a:solidFill>
          <a:srgbClr val="F0CB69"/>
        </a:solidFill>
        <a:ln>
          <a:solidFill>
            <a:srgbClr val="A06F2A"/>
          </a:solidFill>
        </a:ln>
      </dgm:spPr>
    </dgm:pt>
    <dgm:pt modelId="{C4894682-7756-467C-81D6-3CC611958FA0}" type="pres">
      <dgm:prSet presAssocID="{ECB11329-C1B9-4BE6-ABBF-FCB74118B1D9}" presName="text_7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CD1A7C3-96BE-4EE5-8806-06E5CB3F32DB}" type="pres">
      <dgm:prSet presAssocID="{ECB11329-C1B9-4BE6-ABBF-FCB74118B1D9}" presName="accent_7" presStyleCnt="0"/>
      <dgm:spPr/>
    </dgm:pt>
    <dgm:pt modelId="{CFDBDE86-9CA6-4251-AF52-494C98853AF8}" type="pres">
      <dgm:prSet presAssocID="{ECB11329-C1B9-4BE6-ABBF-FCB74118B1D9}" presName="accentRepeatNode" presStyleLbl="solidFgAcc1" presStyleIdx="6" presStyleCnt="7"/>
      <dgm:spPr>
        <a:solidFill>
          <a:srgbClr val="F0CB69"/>
        </a:solidFill>
        <a:ln>
          <a:solidFill>
            <a:srgbClr val="A06F2A"/>
          </a:solidFill>
        </a:ln>
      </dgm:spPr>
    </dgm:pt>
  </dgm:ptLst>
  <dgm:cxnLst>
    <dgm:cxn modelId="{E7628FB7-B363-489D-8642-1466241AF529}" srcId="{465CA0BB-A31D-4C15-A58A-CEED90870B5A}" destId="{B6AFCB01-8999-49A9-A45D-49DD8CAA1D9A}" srcOrd="3" destOrd="0" parTransId="{21749ED4-8493-4D3A-9F54-72FC6A5F59BB}" sibTransId="{0EDE8F3F-455B-468D-B1D8-E2C308F9362E}"/>
    <dgm:cxn modelId="{CC06B335-B26B-44A2-89DC-780456CC0AC7}" type="presOf" srcId="{B6AFCB01-8999-49A9-A45D-49DD8CAA1D9A}" destId="{35B42BBC-ACE7-4E2E-9C24-4E17A84F25AC}" srcOrd="0" destOrd="0" presId="urn:microsoft.com/office/officeart/2008/layout/VerticalCurvedList"/>
    <dgm:cxn modelId="{E7F3DB24-32D3-437A-AB97-A398FDE1EF7B}" srcId="{465CA0BB-A31D-4C15-A58A-CEED90870B5A}" destId="{E90C29CD-562C-42E1-95FA-3FACE803828D}" srcOrd="5" destOrd="0" parTransId="{30DC4B6A-8F53-4F07-B8ED-FC04DE6FBDCB}" sibTransId="{333721D2-7180-451B-9C6F-C74118C2633E}"/>
    <dgm:cxn modelId="{695951B6-426F-42E8-A13E-0A40E563C383}" srcId="{465CA0BB-A31D-4C15-A58A-CEED90870B5A}" destId="{ECB11329-C1B9-4BE6-ABBF-FCB74118B1D9}" srcOrd="6" destOrd="0" parTransId="{788A1485-39AA-44CD-915A-EADD7CA04D20}" sibTransId="{5D746288-62C9-4C02-B700-41E42C58139C}"/>
    <dgm:cxn modelId="{5CB391C2-F22A-4363-AD9D-C578808FDDDB}" srcId="{465CA0BB-A31D-4C15-A58A-CEED90870B5A}" destId="{98E07574-8470-4AA5-A731-6760BD7AE344}" srcOrd="4" destOrd="0" parTransId="{9C7A8D64-84E5-4CEB-AB2C-D7C6997276B6}" sibTransId="{C538C03B-C6A2-4601-9282-0C589ABBA98E}"/>
    <dgm:cxn modelId="{9E6EDCA4-057F-4C29-9764-5527F7918E1B}" type="presOf" srcId="{98E07574-8470-4AA5-A731-6760BD7AE344}" destId="{72F46E3E-4747-4F9F-A42E-7E48D63F1CA2}" srcOrd="0" destOrd="0" presId="urn:microsoft.com/office/officeart/2008/layout/VerticalCurvedList"/>
    <dgm:cxn modelId="{42C831E7-6CC8-4F6E-B3D1-27282AB4EB59}" srcId="{465CA0BB-A31D-4C15-A58A-CEED90870B5A}" destId="{A1CA075E-5414-4D93-BA8D-8B71FFF36D46}" srcOrd="2" destOrd="0" parTransId="{0266399F-C939-4ACA-8243-E5DE769A9816}" sibTransId="{CDC869D4-EC76-4AC4-B645-9182F8C32C36}"/>
    <dgm:cxn modelId="{C1A6BDE2-1D10-4F6A-8559-3AE7640C0F1A}" srcId="{465CA0BB-A31D-4C15-A58A-CEED90870B5A}" destId="{07CA2BC4-2770-46BF-960E-172DF4EB7FE7}" srcOrd="1" destOrd="0" parTransId="{844FA914-E79B-4CEE-B5C4-BAD980048D8D}" sibTransId="{6B90BB19-F90F-42A1-A346-210EAA5D8DDA}"/>
    <dgm:cxn modelId="{2C1159C9-31A0-4566-9F1F-CAE2A913A60A}" type="presOf" srcId="{B0B62AFC-11C9-4C4E-B2B6-8D592EFBCA9B}" destId="{B46533D8-47A8-4B1E-8D13-D7C5E2ED6A40}" srcOrd="0" destOrd="0" presId="urn:microsoft.com/office/officeart/2008/layout/VerticalCurvedList"/>
    <dgm:cxn modelId="{D0830A46-122A-4B0E-A935-E9F9C2C4F8F7}" srcId="{465CA0BB-A31D-4C15-A58A-CEED90870B5A}" destId="{B0B62AFC-11C9-4C4E-B2B6-8D592EFBCA9B}" srcOrd="0" destOrd="0" parTransId="{D3842B3A-C86A-4E71-B450-C15A15BBB04D}" sibTransId="{98888C5D-11B7-446F-B2CA-25F1A5572FEB}"/>
    <dgm:cxn modelId="{B883083A-5575-44DB-B6A0-0138654DEC6A}" srcId="{465CA0BB-A31D-4C15-A58A-CEED90870B5A}" destId="{1881D1D3-956F-4A6D-B2FC-15EA850283E6}" srcOrd="7" destOrd="0" parTransId="{EC34A357-D4C2-4909-B74A-A6131629F2EA}" sibTransId="{B2338020-FDD4-49F4-A5E9-AAF241FF74A1}"/>
    <dgm:cxn modelId="{EE69064D-286A-450C-A25E-451780CDA1B3}" type="presOf" srcId="{465CA0BB-A31D-4C15-A58A-CEED90870B5A}" destId="{F87D2F52-AC43-45F8-9A9D-623E0CC674A2}" srcOrd="0" destOrd="0" presId="urn:microsoft.com/office/officeart/2008/layout/VerticalCurvedList"/>
    <dgm:cxn modelId="{A94B1C6E-FFFB-48A7-9BFB-FC15D3FC148A}" type="presOf" srcId="{07CA2BC4-2770-46BF-960E-172DF4EB7FE7}" destId="{E80DB7FD-160D-4EA6-A665-1BD42CACD671}" srcOrd="0" destOrd="0" presId="urn:microsoft.com/office/officeart/2008/layout/VerticalCurvedList"/>
    <dgm:cxn modelId="{23606D07-F138-4CE5-A8B6-AD03632F748F}" type="presOf" srcId="{98888C5D-11B7-446F-B2CA-25F1A5572FEB}" destId="{F846143E-95EB-4DA8-82B3-86726CC51384}" srcOrd="0" destOrd="0" presId="urn:microsoft.com/office/officeart/2008/layout/VerticalCurvedList"/>
    <dgm:cxn modelId="{DBD03A04-3171-4BC0-BEA6-47A5B1012DA7}" srcId="{465CA0BB-A31D-4C15-A58A-CEED90870B5A}" destId="{558E7A5F-DE97-405B-B79D-8DB4DD261554}" srcOrd="8" destOrd="0" parTransId="{A6248C85-FE59-4501-8519-0E3BFF30B339}" sibTransId="{7BB5BF9B-4248-4B45-8EC2-72C7A0E4884A}"/>
    <dgm:cxn modelId="{CA042795-12E3-421C-99EC-9E4D3689A08A}" type="presOf" srcId="{A1CA075E-5414-4D93-BA8D-8B71FFF36D46}" destId="{DECF26E4-F3BD-4748-A6D3-0DB0B20D2272}" srcOrd="0" destOrd="0" presId="urn:microsoft.com/office/officeart/2008/layout/VerticalCurvedList"/>
    <dgm:cxn modelId="{F55C06EC-6C2E-4514-BB48-7089EEB3BEFD}" type="presOf" srcId="{ECB11329-C1B9-4BE6-ABBF-FCB74118B1D9}" destId="{C4894682-7756-467C-81D6-3CC611958FA0}" srcOrd="0" destOrd="0" presId="urn:microsoft.com/office/officeart/2008/layout/VerticalCurvedList"/>
    <dgm:cxn modelId="{E5A7805F-B8E6-4F88-8CD8-13E50CDBE234}" type="presOf" srcId="{E90C29CD-562C-42E1-95FA-3FACE803828D}" destId="{1756DB16-098C-4314-B087-667B3D52D0FF}" srcOrd="0" destOrd="0" presId="urn:microsoft.com/office/officeart/2008/layout/VerticalCurvedList"/>
    <dgm:cxn modelId="{24F6C913-A449-491E-B010-749647CCEF45}" type="presParOf" srcId="{F87D2F52-AC43-45F8-9A9D-623E0CC674A2}" destId="{2BCF0542-5D13-4119-8126-A13878F21F85}" srcOrd="0" destOrd="0" presId="urn:microsoft.com/office/officeart/2008/layout/VerticalCurvedList"/>
    <dgm:cxn modelId="{BAD457E3-C977-4ADF-8B69-44138B30D5DD}" type="presParOf" srcId="{2BCF0542-5D13-4119-8126-A13878F21F85}" destId="{0455DF84-59E7-4A83-9A7D-638E601BBB90}" srcOrd="0" destOrd="0" presId="urn:microsoft.com/office/officeart/2008/layout/VerticalCurvedList"/>
    <dgm:cxn modelId="{279D5F8E-C80F-47A2-8212-3653CBB8390C}" type="presParOf" srcId="{0455DF84-59E7-4A83-9A7D-638E601BBB90}" destId="{7C9186B5-0DF7-418F-8338-0484D05F9496}" srcOrd="0" destOrd="0" presId="urn:microsoft.com/office/officeart/2008/layout/VerticalCurvedList"/>
    <dgm:cxn modelId="{E4837F7A-B31D-4E7A-A38D-4904668760C8}" type="presParOf" srcId="{0455DF84-59E7-4A83-9A7D-638E601BBB90}" destId="{F846143E-95EB-4DA8-82B3-86726CC51384}" srcOrd="1" destOrd="0" presId="urn:microsoft.com/office/officeart/2008/layout/VerticalCurvedList"/>
    <dgm:cxn modelId="{93544AED-FB24-489A-B712-0F44FB92DD3B}" type="presParOf" srcId="{0455DF84-59E7-4A83-9A7D-638E601BBB90}" destId="{595B51D4-1527-4F75-BDE8-EF4D154E3BEE}" srcOrd="2" destOrd="0" presId="urn:microsoft.com/office/officeart/2008/layout/VerticalCurvedList"/>
    <dgm:cxn modelId="{C5489C28-28E0-4A07-BF40-1FDFC3DD309D}" type="presParOf" srcId="{0455DF84-59E7-4A83-9A7D-638E601BBB90}" destId="{9C865CAA-0CD0-447C-A738-59C742B9DF94}" srcOrd="3" destOrd="0" presId="urn:microsoft.com/office/officeart/2008/layout/VerticalCurvedList"/>
    <dgm:cxn modelId="{0656CF69-0A8E-4A61-970D-7FBE2B334D88}" type="presParOf" srcId="{2BCF0542-5D13-4119-8126-A13878F21F85}" destId="{B46533D8-47A8-4B1E-8D13-D7C5E2ED6A40}" srcOrd="1" destOrd="0" presId="urn:microsoft.com/office/officeart/2008/layout/VerticalCurvedList"/>
    <dgm:cxn modelId="{E0452EF7-6F09-4969-851D-82AE13210244}" type="presParOf" srcId="{2BCF0542-5D13-4119-8126-A13878F21F85}" destId="{5186F307-7D47-4DA5-AD2D-4DC6F786DC5B}" srcOrd="2" destOrd="0" presId="urn:microsoft.com/office/officeart/2008/layout/VerticalCurvedList"/>
    <dgm:cxn modelId="{4FB7E52B-E475-4FF8-B232-E3D5494E8921}" type="presParOf" srcId="{5186F307-7D47-4DA5-AD2D-4DC6F786DC5B}" destId="{2350CCD2-9603-4169-A770-09A6909EDF9C}" srcOrd="0" destOrd="0" presId="urn:microsoft.com/office/officeart/2008/layout/VerticalCurvedList"/>
    <dgm:cxn modelId="{EAAB68B4-FE94-4928-BE9F-AD67694C6A21}" type="presParOf" srcId="{2BCF0542-5D13-4119-8126-A13878F21F85}" destId="{E80DB7FD-160D-4EA6-A665-1BD42CACD671}" srcOrd="3" destOrd="0" presId="urn:microsoft.com/office/officeart/2008/layout/VerticalCurvedList"/>
    <dgm:cxn modelId="{FD0FA2DA-55AB-4809-ADC7-D30495394741}" type="presParOf" srcId="{2BCF0542-5D13-4119-8126-A13878F21F85}" destId="{E2074660-8814-4B23-A79C-819DD2B3EBC8}" srcOrd="4" destOrd="0" presId="urn:microsoft.com/office/officeart/2008/layout/VerticalCurvedList"/>
    <dgm:cxn modelId="{2D2DE819-B280-403F-BDFB-E1983EFBD736}" type="presParOf" srcId="{E2074660-8814-4B23-A79C-819DD2B3EBC8}" destId="{B461B531-D998-4C5A-95FC-A02906075840}" srcOrd="0" destOrd="0" presId="urn:microsoft.com/office/officeart/2008/layout/VerticalCurvedList"/>
    <dgm:cxn modelId="{DE0EABED-3498-4124-9521-9E6F9EF678DF}" type="presParOf" srcId="{2BCF0542-5D13-4119-8126-A13878F21F85}" destId="{DECF26E4-F3BD-4748-A6D3-0DB0B20D2272}" srcOrd="5" destOrd="0" presId="urn:microsoft.com/office/officeart/2008/layout/VerticalCurvedList"/>
    <dgm:cxn modelId="{B7CC6EB8-495E-4066-94CB-845611C46345}" type="presParOf" srcId="{2BCF0542-5D13-4119-8126-A13878F21F85}" destId="{DC843D09-8A8F-4C0F-B205-F1077BAB2EA2}" srcOrd="6" destOrd="0" presId="urn:microsoft.com/office/officeart/2008/layout/VerticalCurvedList"/>
    <dgm:cxn modelId="{513F34FA-BF37-474E-AC47-7914E16A666A}" type="presParOf" srcId="{DC843D09-8A8F-4C0F-B205-F1077BAB2EA2}" destId="{46DBA976-E118-44E6-A291-F268A063F33F}" srcOrd="0" destOrd="0" presId="urn:microsoft.com/office/officeart/2008/layout/VerticalCurvedList"/>
    <dgm:cxn modelId="{53908B41-4683-4BC1-A015-2EFD8AD9E715}" type="presParOf" srcId="{2BCF0542-5D13-4119-8126-A13878F21F85}" destId="{35B42BBC-ACE7-4E2E-9C24-4E17A84F25AC}" srcOrd="7" destOrd="0" presId="urn:microsoft.com/office/officeart/2008/layout/VerticalCurvedList"/>
    <dgm:cxn modelId="{17C304ED-0615-4350-8158-D551152038AF}" type="presParOf" srcId="{2BCF0542-5D13-4119-8126-A13878F21F85}" destId="{2297D322-BAE1-45F3-BDB3-9A335CCDFED1}" srcOrd="8" destOrd="0" presId="urn:microsoft.com/office/officeart/2008/layout/VerticalCurvedList"/>
    <dgm:cxn modelId="{EA073CBD-E038-4969-ADE0-E93D400AD523}" type="presParOf" srcId="{2297D322-BAE1-45F3-BDB3-9A335CCDFED1}" destId="{670097E7-B637-4754-8949-546A9772CD23}" srcOrd="0" destOrd="0" presId="urn:microsoft.com/office/officeart/2008/layout/VerticalCurvedList"/>
    <dgm:cxn modelId="{38681F79-99B0-473A-894E-AEB4FD9924D4}" type="presParOf" srcId="{2BCF0542-5D13-4119-8126-A13878F21F85}" destId="{72F46E3E-4747-4F9F-A42E-7E48D63F1CA2}" srcOrd="9" destOrd="0" presId="urn:microsoft.com/office/officeart/2008/layout/VerticalCurvedList"/>
    <dgm:cxn modelId="{23C813E2-4B4B-4F90-9010-75E4E6CA3CF4}" type="presParOf" srcId="{2BCF0542-5D13-4119-8126-A13878F21F85}" destId="{2069EBFF-0149-4E01-A0D5-E45FBF6C377D}" srcOrd="10" destOrd="0" presId="urn:microsoft.com/office/officeart/2008/layout/VerticalCurvedList"/>
    <dgm:cxn modelId="{B8D3F9C7-7B57-49FC-82BD-2BF3006C8438}" type="presParOf" srcId="{2069EBFF-0149-4E01-A0D5-E45FBF6C377D}" destId="{1420722D-DCB1-447D-98C3-CBEB73BD2DD0}" srcOrd="0" destOrd="0" presId="urn:microsoft.com/office/officeart/2008/layout/VerticalCurvedList"/>
    <dgm:cxn modelId="{CD736FF5-4A1B-4EC4-9456-5D52E419B3AF}" type="presParOf" srcId="{2BCF0542-5D13-4119-8126-A13878F21F85}" destId="{1756DB16-098C-4314-B087-667B3D52D0FF}" srcOrd="11" destOrd="0" presId="urn:microsoft.com/office/officeart/2008/layout/VerticalCurvedList"/>
    <dgm:cxn modelId="{86938B0E-B301-4A12-9F37-94727758162D}" type="presParOf" srcId="{2BCF0542-5D13-4119-8126-A13878F21F85}" destId="{2FF538F7-B443-43D9-AD8C-00E82964B7E1}" srcOrd="12" destOrd="0" presId="urn:microsoft.com/office/officeart/2008/layout/VerticalCurvedList"/>
    <dgm:cxn modelId="{B551CC53-A351-4D50-8345-D7C0A0C48D7C}" type="presParOf" srcId="{2FF538F7-B443-43D9-AD8C-00E82964B7E1}" destId="{1200F0BD-B293-4996-9322-AED95E69B6AB}" srcOrd="0" destOrd="0" presId="urn:microsoft.com/office/officeart/2008/layout/VerticalCurvedList"/>
    <dgm:cxn modelId="{9DD5F2B6-FBF8-48A2-8627-D8608AEB5C61}" type="presParOf" srcId="{2BCF0542-5D13-4119-8126-A13878F21F85}" destId="{C4894682-7756-467C-81D6-3CC611958FA0}" srcOrd="13" destOrd="0" presId="urn:microsoft.com/office/officeart/2008/layout/VerticalCurvedList"/>
    <dgm:cxn modelId="{CD58C2EC-E160-4386-979E-5165152758AB}" type="presParOf" srcId="{2BCF0542-5D13-4119-8126-A13878F21F85}" destId="{ACD1A7C3-96BE-4EE5-8806-06E5CB3F32DB}" srcOrd="14" destOrd="0" presId="urn:microsoft.com/office/officeart/2008/layout/VerticalCurvedList"/>
    <dgm:cxn modelId="{EE4B2876-2ECC-4D78-90ED-68C0231BB061}" type="presParOf" srcId="{ACD1A7C3-96BE-4EE5-8806-06E5CB3F32DB}" destId="{CFDBDE86-9CA6-4251-AF52-494C98853AF8}" srcOrd="0" destOrd="0" presId="urn:microsoft.com/office/officeart/2008/layout/VerticalCurvedList"/>
  </dgm:cxnLst>
  <dgm:bg/>
  <dgm:whole>
    <a:ln w="9525" cap="flat" cmpd="sng" algn="ctr">
      <a:noFill/>
      <a:prstDash val="solid"/>
      <a:round/>
      <a:headEnd type="none" w="med" len="med"/>
      <a:tailEnd type="none" w="med" len="med"/>
    </a:ln>
  </dgm:whole>
  <dgm:extLst>
    <a:ext uri="http://schemas.microsoft.com/office/drawing/2008/diagram">
      <dsp:dataModelExt xmlns:dsp="http://schemas.microsoft.com/office/drawing/2008/diagram" relId="rId18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0CE60A6-AD03-4A39-8011-542A52CAD431}" type="doc">
      <dgm:prSet loTypeId="urn:microsoft.com/office/officeart/2005/8/layout/cycle1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F203BC96-6696-438C-BFBA-15E256403FAF}">
      <dgm:prSet phldrT="[Текст]" custT="1"/>
      <dgm:spPr>
        <a:solidFill>
          <a:srgbClr val="F0CB69"/>
        </a:solidFill>
        <a:ln>
          <a:solidFill>
            <a:srgbClr val="A06F2A"/>
          </a:solidFill>
        </a:ln>
      </dgm:spPr>
      <dgm:t>
        <a:bodyPr/>
        <a:lstStyle/>
        <a:p>
          <a:r>
            <a:rPr lang="ru-RU" sz="1400" dirty="0">
              <a:solidFill>
                <a:srgbClr val="A06F2A"/>
              </a:solidFill>
              <a:latin typeface="Arial" panose="020B0604020202020204" pitchFamily="34" charset="0"/>
              <a:cs typeface="Arial" panose="020B0604020202020204" pitchFamily="34" charset="0"/>
            </a:rPr>
            <a:t>Цитокины (усиление и усугубление стресса)</a:t>
          </a:r>
        </a:p>
      </dgm:t>
    </dgm:pt>
    <dgm:pt modelId="{5B006FA9-9915-46C5-B161-D1481BAEE19D}" type="parTrans" cxnId="{6CB54598-AF7F-4AB4-BC8A-3527B213D15B}">
      <dgm:prSet/>
      <dgm:spPr/>
      <dgm:t>
        <a:bodyPr/>
        <a:lstStyle/>
        <a:p>
          <a:endParaRPr lang="ru-RU"/>
        </a:p>
      </dgm:t>
    </dgm:pt>
    <dgm:pt modelId="{1D76638B-7658-415C-AF9B-89E3201B7BA9}" type="sibTrans" cxnId="{6CB54598-AF7F-4AB4-BC8A-3527B213D15B}">
      <dgm:prSet/>
      <dgm:spPr>
        <a:solidFill>
          <a:srgbClr val="C9E7E4"/>
        </a:solidFill>
      </dgm:spPr>
      <dgm:t>
        <a:bodyPr/>
        <a:lstStyle/>
        <a:p>
          <a:endParaRPr lang="ru-RU"/>
        </a:p>
      </dgm:t>
    </dgm:pt>
    <dgm:pt modelId="{1BFA371D-929D-49AD-B978-0EB658095448}">
      <dgm:prSet phldrT="[Текст]" custT="1"/>
      <dgm:spPr>
        <a:solidFill>
          <a:srgbClr val="F0CB69"/>
        </a:solidFill>
        <a:ln>
          <a:solidFill>
            <a:srgbClr val="A06F2A"/>
          </a:solidFill>
        </a:ln>
      </dgm:spPr>
      <dgm:t>
        <a:bodyPr/>
        <a:lstStyle/>
        <a:p>
          <a:r>
            <a:rPr lang="ru-RU" sz="1800" dirty="0">
              <a:solidFill>
                <a:srgbClr val="A06F2A"/>
              </a:solidFill>
              <a:latin typeface="Arial" panose="020B0604020202020204" pitchFamily="34" charset="0"/>
              <a:cs typeface="Arial" panose="020B0604020202020204" pitchFamily="34" charset="0"/>
            </a:rPr>
            <a:t>Стресс</a:t>
          </a:r>
        </a:p>
      </dgm:t>
    </dgm:pt>
    <dgm:pt modelId="{F5FD00FB-E58A-432A-8193-07BC0F27C49F}" type="parTrans" cxnId="{611A9BEB-B3D5-4703-BD1D-0DFA4624DEB2}">
      <dgm:prSet/>
      <dgm:spPr/>
      <dgm:t>
        <a:bodyPr/>
        <a:lstStyle/>
        <a:p>
          <a:endParaRPr lang="ru-RU"/>
        </a:p>
      </dgm:t>
    </dgm:pt>
    <dgm:pt modelId="{10ADB15B-6D9E-4D7A-88E6-7B5BBCC4D198}" type="sibTrans" cxnId="{611A9BEB-B3D5-4703-BD1D-0DFA4624DEB2}">
      <dgm:prSet>
        <dgm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dgm:style>
      </dgm:prSet>
      <dgm:spPr/>
      <dgm:t>
        <a:bodyPr/>
        <a:lstStyle/>
        <a:p>
          <a:endParaRPr lang="ru-RU"/>
        </a:p>
      </dgm:t>
    </dgm:pt>
    <dgm:pt modelId="{E2C0BFE9-8976-470F-AEE4-30F47397844C}">
      <dgm:prSet phldrT="[Текст]" custT="1"/>
      <dgm:spPr>
        <a:solidFill>
          <a:srgbClr val="F0CB69"/>
        </a:solidFill>
        <a:ln>
          <a:solidFill>
            <a:srgbClr val="A06F2A"/>
          </a:solidFill>
        </a:ln>
      </dgm:spPr>
      <dgm:t>
        <a:bodyPr/>
        <a:lstStyle/>
        <a:p>
          <a:r>
            <a:rPr lang="ru-RU" sz="1400" dirty="0">
              <a:solidFill>
                <a:srgbClr val="A06F2A"/>
              </a:solidFill>
              <a:latin typeface="Arial" panose="020B0604020202020204" pitchFamily="34" charset="0"/>
              <a:cs typeface="Arial" panose="020B0604020202020204" pitchFamily="34" charset="0"/>
            </a:rPr>
            <a:t>Тревожность и подавленное состояние</a:t>
          </a:r>
        </a:p>
      </dgm:t>
    </dgm:pt>
    <dgm:pt modelId="{81FCD259-202B-4EA1-BEF8-07D29D8EA6B0}" type="parTrans" cxnId="{B865C10F-3475-4448-8B62-13D9E2B07B0C}">
      <dgm:prSet/>
      <dgm:spPr/>
      <dgm:t>
        <a:bodyPr/>
        <a:lstStyle/>
        <a:p>
          <a:endParaRPr lang="ru-RU"/>
        </a:p>
      </dgm:t>
    </dgm:pt>
    <dgm:pt modelId="{F45E4BB2-CE00-4FF2-9B02-F6190840C0EB}" type="sibTrans" cxnId="{B865C10F-3475-4448-8B62-13D9E2B07B0C}">
      <dgm:prSet/>
      <dgm:spPr>
        <a:solidFill>
          <a:srgbClr val="C9E7E4"/>
        </a:solidFill>
      </dgm:spPr>
      <dgm:t>
        <a:bodyPr/>
        <a:lstStyle/>
        <a:p>
          <a:endParaRPr lang="ru-RU"/>
        </a:p>
      </dgm:t>
    </dgm:pt>
    <dgm:pt modelId="{11099527-DE8C-45A1-B3BD-5142EFC38217}" type="pres">
      <dgm:prSet presAssocID="{D0CE60A6-AD03-4A39-8011-542A52CAD431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E171A5DC-352D-4471-940F-5BAF8A1C37E9}" type="pres">
      <dgm:prSet presAssocID="{F203BC96-6696-438C-BFBA-15E256403FAF}" presName="dummy" presStyleCnt="0"/>
      <dgm:spPr/>
    </dgm:pt>
    <dgm:pt modelId="{DE5C6CA1-9058-4AB8-81B7-09FA82BC19B9}" type="pres">
      <dgm:prSet presAssocID="{F203BC96-6696-438C-BFBA-15E256403FAF}" presName="node" presStyleLbl="revTx" presStyleIdx="0" presStyleCnt="3" custScaleX="135270" custScaleY="135270">
        <dgm:presLayoutVars>
          <dgm:bulletEnabled val="1"/>
        </dgm:presLayoutVars>
      </dgm:prSet>
      <dgm:spPr>
        <a:prstGeom prst="ellipse">
          <a:avLst/>
        </a:prstGeom>
      </dgm:spPr>
      <dgm:t>
        <a:bodyPr/>
        <a:lstStyle/>
        <a:p>
          <a:endParaRPr lang="ru-RU"/>
        </a:p>
      </dgm:t>
    </dgm:pt>
    <dgm:pt modelId="{C820A076-121A-4207-8885-9F6BEBAAE37F}" type="pres">
      <dgm:prSet presAssocID="{1D76638B-7658-415C-AF9B-89E3201B7BA9}" presName="sibTrans" presStyleLbl="node1" presStyleIdx="0" presStyleCnt="3"/>
      <dgm:spPr/>
      <dgm:t>
        <a:bodyPr/>
        <a:lstStyle/>
        <a:p>
          <a:endParaRPr lang="ru-RU"/>
        </a:p>
      </dgm:t>
    </dgm:pt>
    <dgm:pt modelId="{DB76F0D8-82C4-4475-9F22-83863F81E6A6}" type="pres">
      <dgm:prSet presAssocID="{1BFA371D-929D-49AD-B978-0EB658095448}" presName="dummy" presStyleCnt="0"/>
      <dgm:spPr/>
    </dgm:pt>
    <dgm:pt modelId="{4387EAEA-1F7F-43AF-B390-C0CFF8B15CE7}" type="pres">
      <dgm:prSet presAssocID="{1BFA371D-929D-49AD-B978-0EB658095448}" presName="node" presStyleLbl="revTx" presStyleIdx="1" presStyleCnt="3" custScaleX="135270" custScaleY="135270">
        <dgm:presLayoutVars>
          <dgm:bulletEnabled val="1"/>
        </dgm:presLayoutVars>
      </dgm:prSet>
      <dgm:spPr>
        <a:prstGeom prst="ellipse">
          <a:avLst/>
        </a:prstGeom>
      </dgm:spPr>
      <dgm:t>
        <a:bodyPr/>
        <a:lstStyle/>
        <a:p>
          <a:endParaRPr lang="ru-RU"/>
        </a:p>
      </dgm:t>
    </dgm:pt>
    <dgm:pt modelId="{DC67A43A-72D5-48DF-A8EB-471FD04FB8AC}" type="pres">
      <dgm:prSet presAssocID="{10ADB15B-6D9E-4D7A-88E6-7B5BBCC4D198}" presName="sibTrans" presStyleLbl="node1" presStyleIdx="1" presStyleCnt="3"/>
      <dgm:spPr/>
      <dgm:t>
        <a:bodyPr/>
        <a:lstStyle/>
        <a:p>
          <a:endParaRPr lang="ru-RU"/>
        </a:p>
      </dgm:t>
    </dgm:pt>
    <dgm:pt modelId="{96497A4E-4EDB-432D-B3C5-5B553AD6A5B5}" type="pres">
      <dgm:prSet presAssocID="{E2C0BFE9-8976-470F-AEE4-30F47397844C}" presName="dummy" presStyleCnt="0"/>
      <dgm:spPr/>
    </dgm:pt>
    <dgm:pt modelId="{6D15C8C8-764B-4CCE-94F2-2C0C0D0C60CD}" type="pres">
      <dgm:prSet presAssocID="{E2C0BFE9-8976-470F-AEE4-30F47397844C}" presName="node" presStyleLbl="revTx" presStyleIdx="2" presStyleCnt="3" custScaleX="135270" custScaleY="135270">
        <dgm:presLayoutVars>
          <dgm:bulletEnabled val="1"/>
        </dgm:presLayoutVars>
      </dgm:prSet>
      <dgm:spPr>
        <a:prstGeom prst="ellipse">
          <a:avLst/>
        </a:prstGeom>
      </dgm:spPr>
      <dgm:t>
        <a:bodyPr/>
        <a:lstStyle/>
        <a:p>
          <a:endParaRPr lang="ru-RU"/>
        </a:p>
      </dgm:t>
    </dgm:pt>
    <dgm:pt modelId="{B967E116-F2B6-479F-B71F-CC6DCB1C45F2}" type="pres">
      <dgm:prSet presAssocID="{F45E4BB2-CE00-4FF2-9B02-F6190840C0EB}" presName="sibTrans" presStyleLbl="node1" presStyleIdx="2" presStyleCnt="3"/>
      <dgm:spPr/>
      <dgm:t>
        <a:bodyPr/>
        <a:lstStyle/>
        <a:p>
          <a:endParaRPr lang="ru-RU"/>
        </a:p>
      </dgm:t>
    </dgm:pt>
  </dgm:ptLst>
  <dgm:cxnLst>
    <dgm:cxn modelId="{6CB54598-AF7F-4AB4-BC8A-3527B213D15B}" srcId="{D0CE60A6-AD03-4A39-8011-542A52CAD431}" destId="{F203BC96-6696-438C-BFBA-15E256403FAF}" srcOrd="0" destOrd="0" parTransId="{5B006FA9-9915-46C5-B161-D1481BAEE19D}" sibTransId="{1D76638B-7658-415C-AF9B-89E3201B7BA9}"/>
    <dgm:cxn modelId="{C01F97D7-46BB-4EEF-A5E7-74EFABFCB6F3}" type="presOf" srcId="{1D76638B-7658-415C-AF9B-89E3201B7BA9}" destId="{C820A076-121A-4207-8885-9F6BEBAAE37F}" srcOrd="0" destOrd="0" presId="urn:microsoft.com/office/officeart/2005/8/layout/cycle1"/>
    <dgm:cxn modelId="{783FCCDC-3889-4302-9F04-85F7012A686D}" type="presOf" srcId="{D0CE60A6-AD03-4A39-8011-542A52CAD431}" destId="{11099527-DE8C-45A1-B3BD-5142EFC38217}" srcOrd="0" destOrd="0" presId="urn:microsoft.com/office/officeart/2005/8/layout/cycle1"/>
    <dgm:cxn modelId="{B9BA8193-7A1C-46CA-823B-895683D9E6DC}" type="presOf" srcId="{10ADB15B-6D9E-4D7A-88E6-7B5BBCC4D198}" destId="{DC67A43A-72D5-48DF-A8EB-471FD04FB8AC}" srcOrd="0" destOrd="0" presId="urn:microsoft.com/office/officeart/2005/8/layout/cycle1"/>
    <dgm:cxn modelId="{40F7F7FE-58DC-4284-A8C6-90B53C949EB9}" type="presOf" srcId="{F45E4BB2-CE00-4FF2-9B02-F6190840C0EB}" destId="{B967E116-F2B6-479F-B71F-CC6DCB1C45F2}" srcOrd="0" destOrd="0" presId="urn:microsoft.com/office/officeart/2005/8/layout/cycle1"/>
    <dgm:cxn modelId="{B865C10F-3475-4448-8B62-13D9E2B07B0C}" srcId="{D0CE60A6-AD03-4A39-8011-542A52CAD431}" destId="{E2C0BFE9-8976-470F-AEE4-30F47397844C}" srcOrd="2" destOrd="0" parTransId="{81FCD259-202B-4EA1-BEF8-07D29D8EA6B0}" sibTransId="{F45E4BB2-CE00-4FF2-9B02-F6190840C0EB}"/>
    <dgm:cxn modelId="{2B5508B0-BE8A-4C3A-964C-CF33BD972056}" type="presOf" srcId="{F203BC96-6696-438C-BFBA-15E256403FAF}" destId="{DE5C6CA1-9058-4AB8-81B7-09FA82BC19B9}" srcOrd="0" destOrd="0" presId="urn:microsoft.com/office/officeart/2005/8/layout/cycle1"/>
    <dgm:cxn modelId="{611A9BEB-B3D5-4703-BD1D-0DFA4624DEB2}" srcId="{D0CE60A6-AD03-4A39-8011-542A52CAD431}" destId="{1BFA371D-929D-49AD-B978-0EB658095448}" srcOrd="1" destOrd="0" parTransId="{F5FD00FB-E58A-432A-8193-07BC0F27C49F}" sibTransId="{10ADB15B-6D9E-4D7A-88E6-7B5BBCC4D198}"/>
    <dgm:cxn modelId="{F676D4BA-EED5-43DC-83F5-D0CF175BB166}" type="presOf" srcId="{E2C0BFE9-8976-470F-AEE4-30F47397844C}" destId="{6D15C8C8-764B-4CCE-94F2-2C0C0D0C60CD}" srcOrd="0" destOrd="0" presId="urn:microsoft.com/office/officeart/2005/8/layout/cycle1"/>
    <dgm:cxn modelId="{70D5E6ED-7D3D-42F9-A241-40F907184EBF}" type="presOf" srcId="{1BFA371D-929D-49AD-B978-0EB658095448}" destId="{4387EAEA-1F7F-43AF-B390-C0CFF8B15CE7}" srcOrd="0" destOrd="0" presId="urn:microsoft.com/office/officeart/2005/8/layout/cycle1"/>
    <dgm:cxn modelId="{38137903-D5C7-4BEC-93FA-412702416C48}" type="presParOf" srcId="{11099527-DE8C-45A1-B3BD-5142EFC38217}" destId="{E171A5DC-352D-4471-940F-5BAF8A1C37E9}" srcOrd="0" destOrd="0" presId="urn:microsoft.com/office/officeart/2005/8/layout/cycle1"/>
    <dgm:cxn modelId="{CC6BCD14-5B5E-4826-BDAC-E68ECB8DA829}" type="presParOf" srcId="{11099527-DE8C-45A1-B3BD-5142EFC38217}" destId="{DE5C6CA1-9058-4AB8-81B7-09FA82BC19B9}" srcOrd="1" destOrd="0" presId="urn:microsoft.com/office/officeart/2005/8/layout/cycle1"/>
    <dgm:cxn modelId="{26F757A9-1078-4FDE-A7B2-74DB9B2E8C11}" type="presParOf" srcId="{11099527-DE8C-45A1-B3BD-5142EFC38217}" destId="{C820A076-121A-4207-8885-9F6BEBAAE37F}" srcOrd="2" destOrd="0" presId="urn:microsoft.com/office/officeart/2005/8/layout/cycle1"/>
    <dgm:cxn modelId="{8D2D2C33-F831-4E1A-A864-BB589548EF1E}" type="presParOf" srcId="{11099527-DE8C-45A1-B3BD-5142EFC38217}" destId="{DB76F0D8-82C4-4475-9F22-83863F81E6A6}" srcOrd="3" destOrd="0" presId="urn:microsoft.com/office/officeart/2005/8/layout/cycle1"/>
    <dgm:cxn modelId="{A91B0DE0-8C43-4E3C-8637-754B86428754}" type="presParOf" srcId="{11099527-DE8C-45A1-B3BD-5142EFC38217}" destId="{4387EAEA-1F7F-43AF-B390-C0CFF8B15CE7}" srcOrd="4" destOrd="0" presId="urn:microsoft.com/office/officeart/2005/8/layout/cycle1"/>
    <dgm:cxn modelId="{1D4A7075-9130-40DE-A2B6-7D4119930463}" type="presParOf" srcId="{11099527-DE8C-45A1-B3BD-5142EFC38217}" destId="{DC67A43A-72D5-48DF-A8EB-471FD04FB8AC}" srcOrd="5" destOrd="0" presId="urn:microsoft.com/office/officeart/2005/8/layout/cycle1"/>
    <dgm:cxn modelId="{7845C825-CF1D-49FA-B20C-2E95879053B4}" type="presParOf" srcId="{11099527-DE8C-45A1-B3BD-5142EFC38217}" destId="{96497A4E-4EDB-432D-B3C5-5B553AD6A5B5}" srcOrd="6" destOrd="0" presId="urn:microsoft.com/office/officeart/2005/8/layout/cycle1"/>
    <dgm:cxn modelId="{9A9242ED-B507-41BC-8EFE-725B0F94795D}" type="presParOf" srcId="{11099527-DE8C-45A1-B3BD-5142EFC38217}" destId="{6D15C8C8-764B-4CCE-94F2-2C0C0D0C60CD}" srcOrd="7" destOrd="0" presId="urn:microsoft.com/office/officeart/2005/8/layout/cycle1"/>
    <dgm:cxn modelId="{E3124E52-7E1D-402B-9B0A-22E3AED5E69F}" type="presParOf" srcId="{11099527-DE8C-45A1-B3BD-5142EFC38217}" destId="{B967E116-F2B6-479F-B71F-CC6DCB1C45F2}" srcOrd="8" destOrd="0" presId="urn:microsoft.com/office/officeart/2005/8/layout/cycle1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846143E-95EB-4DA8-82B3-86726CC51384}">
      <dsp:nvSpPr>
        <dsp:cNvPr id="0" name=""/>
        <dsp:cNvSpPr/>
      </dsp:nvSpPr>
      <dsp:spPr>
        <a:xfrm>
          <a:off x="-4218757" y="-647328"/>
          <a:ext cx="5026800" cy="5026800"/>
        </a:xfrm>
        <a:prstGeom prst="blockArc">
          <a:avLst>
            <a:gd name="adj1" fmla="val 18900000"/>
            <a:gd name="adj2" fmla="val 2700000"/>
            <a:gd name="adj3" fmla="val 430"/>
          </a:avLst>
        </a:prstGeom>
        <a:noFill/>
        <a:ln w="12700" cap="flat" cmpd="sng" algn="ctr">
          <a:solidFill>
            <a:schemeClr val="accent6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46533D8-47A8-4B1E-8D13-D7C5E2ED6A40}">
      <dsp:nvSpPr>
        <dsp:cNvPr id="0" name=""/>
        <dsp:cNvSpPr/>
      </dsp:nvSpPr>
      <dsp:spPr>
        <a:xfrm>
          <a:off x="261809" y="169663"/>
          <a:ext cx="4059385" cy="339177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9222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Wingdings" panose="05000000000000000000" pitchFamily="2" charset="2"/>
            <a:buNone/>
          </a:pPr>
          <a:r>
            <a:rPr lang="ru-RU" sz="1600" kern="1200" dirty="0">
              <a:solidFill>
                <a:srgbClr val="A06F2A"/>
              </a:solidFill>
              <a:latin typeface="Arial" panose="020B0604020202020204" pitchFamily="34" charset="0"/>
              <a:cs typeface="Arial" panose="020B0604020202020204" pitchFamily="34" charset="0"/>
            </a:rPr>
            <a:t>Неоплазия </a:t>
          </a:r>
        </a:p>
      </dsp:txBody>
      <dsp:txXfrm>
        <a:off x="261809" y="169663"/>
        <a:ext cx="4059385" cy="339177"/>
      </dsp:txXfrm>
    </dsp:sp>
    <dsp:sp modelId="{2350CCD2-9603-4169-A770-09A6909EDF9C}">
      <dsp:nvSpPr>
        <dsp:cNvPr id="0" name=""/>
        <dsp:cNvSpPr/>
      </dsp:nvSpPr>
      <dsp:spPr>
        <a:xfrm>
          <a:off x="49824" y="127266"/>
          <a:ext cx="423971" cy="423971"/>
        </a:xfrm>
        <a:prstGeom prst="ellipse">
          <a:avLst/>
        </a:prstGeom>
        <a:solidFill>
          <a:srgbClr val="F0CB69"/>
        </a:solidFill>
        <a:ln w="12700" cap="flat" cmpd="sng" algn="ctr">
          <a:solidFill>
            <a:srgbClr val="A06F2A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80DB7FD-160D-4EA6-A665-1BD42CACD671}">
      <dsp:nvSpPr>
        <dsp:cNvPr id="0" name=""/>
        <dsp:cNvSpPr/>
      </dsp:nvSpPr>
      <dsp:spPr>
        <a:xfrm>
          <a:off x="568965" y="649403"/>
          <a:ext cx="3752229" cy="397824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9222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ts val="0"/>
            </a:spcAft>
            <a:buFont typeface="Wingdings" panose="05000000000000000000" pitchFamily="2" charset="2"/>
            <a:buNone/>
          </a:pPr>
          <a:r>
            <a:rPr lang="ru-RU" sz="1600" kern="100" baseline="0" dirty="0">
              <a:solidFill>
                <a:srgbClr val="A06F2A"/>
              </a:solidFill>
              <a:latin typeface="Arial" panose="020B0604020202020204" pitchFamily="34" charset="0"/>
              <a:cs typeface="Arial" panose="020B0604020202020204" pitchFamily="34" charset="0"/>
            </a:rPr>
            <a:t>Инфекция (остеомиелит, </a:t>
          </a:r>
          <a:r>
            <a:rPr lang="ru-RU" sz="1600" kern="100" baseline="0" dirty="0" err="1">
              <a:solidFill>
                <a:srgbClr val="A06F2A"/>
              </a:solidFill>
              <a:latin typeface="Arial" panose="020B0604020202020204" pitchFamily="34" charset="0"/>
              <a:cs typeface="Arial" panose="020B0604020202020204" pitchFamily="34" charset="0"/>
            </a:rPr>
            <a:t>эпидуральный</a:t>
          </a:r>
          <a:r>
            <a:rPr lang="ru-RU" sz="1600" kern="100" baseline="0" dirty="0">
              <a:solidFill>
                <a:srgbClr val="A06F2A"/>
              </a:solidFill>
              <a:latin typeface="Arial" panose="020B0604020202020204" pitchFamily="34" charset="0"/>
              <a:cs typeface="Arial" panose="020B0604020202020204" pitchFamily="34" charset="0"/>
            </a:rPr>
            <a:t> абсцесс)</a:t>
          </a:r>
        </a:p>
      </dsp:txBody>
      <dsp:txXfrm>
        <a:off x="568965" y="649403"/>
        <a:ext cx="3752229" cy="397824"/>
      </dsp:txXfrm>
    </dsp:sp>
    <dsp:sp modelId="{B461B531-D998-4C5A-95FC-A02906075840}">
      <dsp:nvSpPr>
        <dsp:cNvPr id="0" name=""/>
        <dsp:cNvSpPr/>
      </dsp:nvSpPr>
      <dsp:spPr>
        <a:xfrm>
          <a:off x="356979" y="636330"/>
          <a:ext cx="423971" cy="423971"/>
        </a:xfrm>
        <a:prstGeom prst="ellipse">
          <a:avLst/>
        </a:prstGeom>
        <a:solidFill>
          <a:srgbClr val="F0CB69"/>
        </a:solidFill>
        <a:ln w="12700" cap="flat" cmpd="sng" algn="ctr">
          <a:solidFill>
            <a:srgbClr val="A06F2A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ECF26E4-F3BD-4748-A6D3-0DB0B20D2272}">
      <dsp:nvSpPr>
        <dsp:cNvPr id="0" name=""/>
        <dsp:cNvSpPr/>
      </dsp:nvSpPr>
      <dsp:spPr>
        <a:xfrm>
          <a:off x="737284" y="1187418"/>
          <a:ext cx="3583910" cy="339177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9222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Wingdings" panose="05000000000000000000" pitchFamily="2" charset="2"/>
            <a:buNone/>
          </a:pPr>
          <a:r>
            <a:rPr lang="ru-RU" sz="1600" kern="1200" dirty="0">
              <a:solidFill>
                <a:srgbClr val="A06F2A"/>
              </a:solidFill>
              <a:latin typeface="Arial" panose="020B0604020202020204" pitchFamily="34" charset="0"/>
              <a:cs typeface="Arial" panose="020B0604020202020204" pitchFamily="34" charset="0"/>
            </a:rPr>
            <a:t>Воспалительный артроз</a:t>
          </a:r>
        </a:p>
      </dsp:txBody>
      <dsp:txXfrm>
        <a:off x="737284" y="1187418"/>
        <a:ext cx="3583910" cy="339177"/>
      </dsp:txXfrm>
    </dsp:sp>
    <dsp:sp modelId="{46DBA976-E118-44E6-A291-F268A063F33F}">
      <dsp:nvSpPr>
        <dsp:cNvPr id="0" name=""/>
        <dsp:cNvSpPr/>
      </dsp:nvSpPr>
      <dsp:spPr>
        <a:xfrm>
          <a:off x="525299" y="1145021"/>
          <a:ext cx="423971" cy="423971"/>
        </a:xfrm>
        <a:prstGeom prst="ellipse">
          <a:avLst/>
        </a:prstGeom>
        <a:solidFill>
          <a:srgbClr val="F0CB69"/>
        </a:solidFill>
        <a:ln w="12700" cap="flat" cmpd="sng" algn="ctr">
          <a:solidFill>
            <a:srgbClr val="A06F2A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5B42BBC-ACE7-4E2E-9C24-4E17A84F25AC}">
      <dsp:nvSpPr>
        <dsp:cNvPr id="0" name=""/>
        <dsp:cNvSpPr/>
      </dsp:nvSpPr>
      <dsp:spPr>
        <a:xfrm>
          <a:off x="791027" y="1646922"/>
          <a:ext cx="3530167" cy="438298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9222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Wingdings" panose="05000000000000000000" pitchFamily="2" charset="2"/>
            <a:buNone/>
          </a:pPr>
          <a:r>
            <a:rPr lang="ru-RU" sz="1600" kern="1200" dirty="0">
              <a:solidFill>
                <a:srgbClr val="A06F2A"/>
              </a:solidFill>
              <a:latin typeface="Arial" panose="020B0604020202020204" pitchFamily="34" charset="0"/>
              <a:cs typeface="Arial" panose="020B0604020202020204" pitchFamily="34" charset="0"/>
            </a:rPr>
            <a:t>Заболевания органов малого таза (простатит, </a:t>
          </a:r>
          <a:r>
            <a:rPr lang="ru-RU" sz="1600" kern="1200" dirty="0" err="1">
              <a:solidFill>
                <a:srgbClr val="A06F2A"/>
              </a:solidFill>
              <a:latin typeface="Arial" panose="020B0604020202020204" pitchFamily="34" charset="0"/>
              <a:cs typeface="Arial" panose="020B0604020202020204" pitchFamily="34" charset="0"/>
            </a:rPr>
            <a:t>эндометриоз</a:t>
          </a:r>
          <a:r>
            <a:rPr lang="ru-RU" sz="1600" kern="1200" dirty="0">
              <a:solidFill>
                <a:srgbClr val="A06F2A"/>
              </a:solidFill>
              <a:latin typeface="Arial" panose="020B0604020202020204" pitchFamily="34" charset="0"/>
              <a:cs typeface="Arial" panose="020B0604020202020204" pitchFamily="34" charset="0"/>
            </a:rPr>
            <a:t>)</a:t>
          </a:r>
        </a:p>
      </dsp:txBody>
      <dsp:txXfrm>
        <a:off x="791027" y="1646922"/>
        <a:ext cx="3530167" cy="438298"/>
      </dsp:txXfrm>
    </dsp:sp>
    <dsp:sp modelId="{670097E7-B637-4754-8949-546A9772CD23}">
      <dsp:nvSpPr>
        <dsp:cNvPr id="0" name=""/>
        <dsp:cNvSpPr/>
      </dsp:nvSpPr>
      <dsp:spPr>
        <a:xfrm>
          <a:off x="579041" y="1654085"/>
          <a:ext cx="423971" cy="423971"/>
        </a:xfrm>
        <a:prstGeom prst="ellipse">
          <a:avLst/>
        </a:prstGeom>
        <a:solidFill>
          <a:srgbClr val="F0CB69"/>
        </a:solidFill>
        <a:ln w="12700" cap="flat" cmpd="sng" algn="ctr">
          <a:solidFill>
            <a:srgbClr val="A06F2A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2F46E3E-4747-4F9F-A42E-7E48D63F1CA2}">
      <dsp:nvSpPr>
        <dsp:cNvPr id="0" name=""/>
        <dsp:cNvSpPr/>
      </dsp:nvSpPr>
      <dsp:spPr>
        <a:xfrm>
          <a:off x="737284" y="2205547"/>
          <a:ext cx="3583910" cy="339177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9222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Wingdings" panose="05000000000000000000" pitchFamily="2" charset="2"/>
            <a:buNone/>
          </a:pPr>
          <a:r>
            <a:rPr lang="ru-RU" sz="1600" kern="1200" dirty="0">
              <a:solidFill>
                <a:srgbClr val="A06F2A"/>
              </a:solidFill>
              <a:latin typeface="Arial" panose="020B0604020202020204" pitchFamily="34" charset="0"/>
              <a:cs typeface="Arial" panose="020B0604020202020204" pitchFamily="34" charset="0"/>
            </a:rPr>
            <a:t>Патологии почек</a:t>
          </a:r>
        </a:p>
      </dsp:txBody>
      <dsp:txXfrm>
        <a:off x="737284" y="2205547"/>
        <a:ext cx="3583910" cy="339177"/>
      </dsp:txXfrm>
    </dsp:sp>
    <dsp:sp modelId="{1420722D-DCB1-447D-98C3-CBEB73BD2DD0}">
      <dsp:nvSpPr>
        <dsp:cNvPr id="0" name=""/>
        <dsp:cNvSpPr/>
      </dsp:nvSpPr>
      <dsp:spPr>
        <a:xfrm>
          <a:off x="525299" y="2163150"/>
          <a:ext cx="423971" cy="423971"/>
        </a:xfrm>
        <a:prstGeom prst="ellipse">
          <a:avLst/>
        </a:prstGeom>
        <a:solidFill>
          <a:srgbClr val="F0CB69"/>
        </a:solidFill>
        <a:ln w="12700" cap="flat" cmpd="sng" algn="ctr">
          <a:solidFill>
            <a:srgbClr val="A06F2A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756DB16-098C-4314-B087-667B3D52D0FF}">
      <dsp:nvSpPr>
        <dsp:cNvPr id="0" name=""/>
        <dsp:cNvSpPr/>
      </dsp:nvSpPr>
      <dsp:spPr>
        <a:xfrm>
          <a:off x="568965" y="2714238"/>
          <a:ext cx="3752229" cy="339177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9222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Wingdings" panose="05000000000000000000" pitchFamily="2" charset="2"/>
            <a:buNone/>
          </a:pPr>
          <a:r>
            <a:rPr lang="ru-RU" sz="1600" kern="1200" dirty="0">
              <a:solidFill>
                <a:srgbClr val="A06F2A"/>
              </a:solidFill>
              <a:latin typeface="Arial" panose="020B0604020202020204" pitchFamily="34" charset="0"/>
              <a:cs typeface="Arial" panose="020B0604020202020204" pitchFamily="34" charset="0"/>
            </a:rPr>
            <a:t>Аневризма аорты</a:t>
          </a:r>
        </a:p>
      </dsp:txBody>
      <dsp:txXfrm>
        <a:off x="568965" y="2714238"/>
        <a:ext cx="3752229" cy="339177"/>
      </dsp:txXfrm>
    </dsp:sp>
    <dsp:sp modelId="{1200F0BD-B293-4996-9322-AED95E69B6AB}">
      <dsp:nvSpPr>
        <dsp:cNvPr id="0" name=""/>
        <dsp:cNvSpPr/>
      </dsp:nvSpPr>
      <dsp:spPr>
        <a:xfrm>
          <a:off x="356979" y="2671841"/>
          <a:ext cx="423971" cy="423971"/>
        </a:xfrm>
        <a:prstGeom prst="ellipse">
          <a:avLst/>
        </a:prstGeom>
        <a:solidFill>
          <a:srgbClr val="F0CB69"/>
        </a:solidFill>
        <a:ln w="12700" cap="flat" cmpd="sng" algn="ctr">
          <a:solidFill>
            <a:srgbClr val="A06F2A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4894682-7756-467C-81D6-3CC611958FA0}">
      <dsp:nvSpPr>
        <dsp:cNvPr id="0" name=""/>
        <dsp:cNvSpPr/>
      </dsp:nvSpPr>
      <dsp:spPr>
        <a:xfrm>
          <a:off x="261809" y="3223302"/>
          <a:ext cx="4059385" cy="339177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69222" tIns="40640" rIns="40640" bIns="4064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Wingdings" panose="05000000000000000000" pitchFamily="2" charset="2"/>
            <a:buNone/>
          </a:pPr>
          <a:r>
            <a:rPr lang="ru-RU" sz="1600" kern="1200" dirty="0">
              <a:solidFill>
                <a:srgbClr val="A06F2A"/>
              </a:solidFill>
              <a:latin typeface="Arial" panose="020B0604020202020204" pitchFamily="34" charset="0"/>
              <a:cs typeface="Arial" panose="020B0604020202020204" pitchFamily="34" charset="0"/>
            </a:rPr>
            <a:t>Заболевания пищеварительного тракта</a:t>
          </a:r>
        </a:p>
      </dsp:txBody>
      <dsp:txXfrm>
        <a:off x="261809" y="3223302"/>
        <a:ext cx="4059385" cy="339177"/>
      </dsp:txXfrm>
    </dsp:sp>
    <dsp:sp modelId="{CFDBDE86-9CA6-4251-AF52-494C98853AF8}">
      <dsp:nvSpPr>
        <dsp:cNvPr id="0" name=""/>
        <dsp:cNvSpPr/>
      </dsp:nvSpPr>
      <dsp:spPr>
        <a:xfrm>
          <a:off x="49824" y="3180905"/>
          <a:ext cx="423971" cy="423971"/>
        </a:xfrm>
        <a:prstGeom prst="ellipse">
          <a:avLst/>
        </a:prstGeom>
        <a:solidFill>
          <a:srgbClr val="F0CB69"/>
        </a:solidFill>
        <a:ln w="12700" cap="flat" cmpd="sng" algn="ctr">
          <a:solidFill>
            <a:srgbClr val="A06F2A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E5C6CA1-9058-4AB8-81B7-09FA82BC19B9}">
      <dsp:nvSpPr>
        <dsp:cNvPr id="0" name=""/>
        <dsp:cNvSpPr/>
      </dsp:nvSpPr>
      <dsp:spPr>
        <a:xfrm>
          <a:off x="2911712" y="-83013"/>
          <a:ext cx="1643780" cy="1643780"/>
        </a:xfrm>
        <a:prstGeom prst="ellipse">
          <a:avLst/>
        </a:prstGeom>
        <a:solidFill>
          <a:srgbClr val="F0CB69"/>
        </a:solidFill>
        <a:ln>
          <a:solidFill>
            <a:srgbClr val="A06F2A"/>
          </a:solidFill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>
              <a:solidFill>
                <a:srgbClr val="A06F2A"/>
              </a:solidFill>
              <a:latin typeface="Arial" panose="020B0604020202020204" pitchFamily="34" charset="0"/>
              <a:cs typeface="Arial" panose="020B0604020202020204" pitchFamily="34" charset="0"/>
            </a:rPr>
            <a:t>Цитокины (усиление и усугубление стресса)</a:t>
          </a:r>
        </a:p>
      </dsp:txBody>
      <dsp:txXfrm>
        <a:off x="3152438" y="157713"/>
        <a:ext cx="1162328" cy="1162328"/>
      </dsp:txXfrm>
    </dsp:sp>
    <dsp:sp modelId="{C820A076-121A-4207-8885-9F6BEBAAE37F}">
      <dsp:nvSpPr>
        <dsp:cNvPr id="0" name=""/>
        <dsp:cNvSpPr/>
      </dsp:nvSpPr>
      <dsp:spPr>
        <a:xfrm>
          <a:off x="1273493" y="-108230"/>
          <a:ext cx="2875014" cy="2875014"/>
        </a:xfrm>
        <a:prstGeom prst="circularArrow">
          <a:avLst>
            <a:gd name="adj1" fmla="val 8242"/>
            <a:gd name="adj2" fmla="val 575574"/>
            <a:gd name="adj3" fmla="val 2177789"/>
            <a:gd name="adj4" fmla="val 678350"/>
            <a:gd name="adj5" fmla="val 9616"/>
          </a:avLst>
        </a:prstGeom>
        <a:solidFill>
          <a:srgbClr val="C9E7E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387EAEA-1F7F-43AF-B390-C0CFF8B15CE7}">
      <dsp:nvSpPr>
        <dsp:cNvPr id="0" name=""/>
        <dsp:cNvSpPr/>
      </dsp:nvSpPr>
      <dsp:spPr>
        <a:xfrm>
          <a:off x="1889110" y="1688185"/>
          <a:ext cx="1643780" cy="1643780"/>
        </a:xfrm>
        <a:prstGeom prst="ellipse">
          <a:avLst/>
        </a:prstGeom>
        <a:solidFill>
          <a:srgbClr val="F0CB69"/>
        </a:solidFill>
        <a:ln>
          <a:solidFill>
            <a:srgbClr val="A06F2A"/>
          </a:solidFill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>
              <a:solidFill>
                <a:srgbClr val="A06F2A"/>
              </a:solidFill>
              <a:latin typeface="Arial" panose="020B0604020202020204" pitchFamily="34" charset="0"/>
              <a:cs typeface="Arial" panose="020B0604020202020204" pitchFamily="34" charset="0"/>
            </a:rPr>
            <a:t>Стресс</a:t>
          </a:r>
        </a:p>
      </dsp:txBody>
      <dsp:txXfrm>
        <a:off x="2129836" y="1928911"/>
        <a:ext cx="1162328" cy="1162328"/>
      </dsp:txXfrm>
    </dsp:sp>
    <dsp:sp modelId="{DC67A43A-72D5-48DF-A8EB-471FD04FB8AC}">
      <dsp:nvSpPr>
        <dsp:cNvPr id="0" name=""/>
        <dsp:cNvSpPr/>
      </dsp:nvSpPr>
      <dsp:spPr>
        <a:xfrm>
          <a:off x="1273493" y="-108230"/>
          <a:ext cx="2875014" cy="2875014"/>
        </a:xfrm>
        <a:prstGeom prst="circularArrow">
          <a:avLst>
            <a:gd name="adj1" fmla="val 8242"/>
            <a:gd name="adj2" fmla="val 575574"/>
            <a:gd name="adj3" fmla="val 9546077"/>
            <a:gd name="adj4" fmla="val 8046637"/>
            <a:gd name="adj5" fmla="val 9616"/>
          </a:avLst>
        </a:prstGeom>
        <a:gradFill rotWithShape="1">
          <a:gsLst>
            <a:gs pos="0">
              <a:schemeClr val="accent2">
                <a:shade val="51000"/>
                <a:satMod val="130000"/>
              </a:schemeClr>
            </a:gs>
            <a:gs pos="80000">
              <a:schemeClr val="accent2">
                <a:shade val="93000"/>
                <a:satMod val="130000"/>
              </a:schemeClr>
            </a:gs>
            <a:gs pos="100000">
              <a:schemeClr val="accent2">
                <a:shade val="94000"/>
                <a:satMod val="135000"/>
              </a:schemeClr>
            </a:gs>
          </a:gsLst>
          <a:lin ang="16200000" scaled="0"/>
        </a:gradFill>
        <a:ln w="9525" cap="flat" cmpd="sng" algn="ctr">
          <a:solidFill>
            <a:schemeClr val="accent2">
              <a:shade val="95000"/>
              <a:satMod val="105000"/>
            </a:schemeClr>
          </a:solidFill>
          <a:prstDash val="solid"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dsp:style>
    </dsp:sp>
    <dsp:sp modelId="{6D15C8C8-764B-4CCE-94F2-2C0C0D0C60CD}">
      <dsp:nvSpPr>
        <dsp:cNvPr id="0" name=""/>
        <dsp:cNvSpPr/>
      </dsp:nvSpPr>
      <dsp:spPr>
        <a:xfrm>
          <a:off x="866508" y="-83013"/>
          <a:ext cx="1643780" cy="1643780"/>
        </a:xfrm>
        <a:prstGeom prst="ellipse">
          <a:avLst/>
        </a:prstGeom>
        <a:solidFill>
          <a:srgbClr val="F0CB69"/>
        </a:solidFill>
        <a:ln>
          <a:solidFill>
            <a:srgbClr val="A06F2A"/>
          </a:solidFill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>
              <a:solidFill>
                <a:srgbClr val="A06F2A"/>
              </a:solidFill>
              <a:latin typeface="Arial" panose="020B0604020202020204" pitchFamily="34" charset="0"/>
              <a:cs typeface="Arial" panose="020B0604020202020204" pitchFamily="34" charset="0"/>
            </a:rPr>
            <a:t>Тревожность и подавленное состояние</a:t>
          </a:r>
        </a:p>
      </dsp:txBody>
      <dsp:txXfrm>
        <a:off x="1107234" y="157713"/>
        <a:ext cx="1162328" cy="1162328"/>
      </dsp:txXfrm>
    </dsp:sp>
    <dsp:sp modelId="{B967E116-F2B6-479F-B71F-CC6DCB1C45F2}">
      <dsp:nvSpPr>
        <dsp:cNvPr id="0" name=""/>
        <dsp:cNvSpPr/>
      </dsp:nvSpPr>
      <dsp:spPr>
        <a:xfrm>
          <a:off x="1273493" y="-108230"/>
          <a:ext cx="2875014" cy="2875014"/>
        </a:xfrm>
        <a:prstGeom prst="circularArrow">
          <a:avLst>
            <a:gd name="adj1" fmla="val 8242"/>
            <a:gd name="adj2" fmla="val 575574"/>
            <a:gd name="adj3" fmla="val 16211624"/>
            <a:gd name="adj4" fmla="val 15612802"/>
            <a:gd name="adj5" fmla="val 9616"/>
          </a:avLst>
        </a:prstGeom>
        <a:solidFill>
          <a:srgbClr val="C9E7E4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1">
  <dgm:title val=""/>
  <dgm:desc val=""/>
  <dgm:catLst>
    <dgm:cat type="cycle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alg type="cycle">
          <dgm:param type="stAng" val="0"/>
          <dgm:param type="spanAng" val="360"/>
        </dgm:alg>
      </dgm:if>
      <dgm:else name="Name2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hoose name="Name3">
      <dgm:if name="Name4" func="var" arg="dir" op="equ" val="norm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if>
      <dgm:else name="Name5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 fact="-1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else>
    </dgm:choose>
    <dgm:ruleLst>
      <dgm:rule type="diam" val="INF" fact="NaN" max="NaN"/>
    </dgm:ruleLst>
    <dgm:forEach name="nodesForEach" axis="ch" ptType="node">
      <dgm:choose name="Name6">
        <dgm:if name="Name7" axis="par ch" ptType="doc node" func="cnt" op="gt" val="1">
          <dgm:layoutNode name="dummy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</dgm:if>
        <dgm:else name="Name8"/>
      </dgm:choose>
      <dgm:layoutNode name="node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Name11" axis="followSib" ptType="sibTrans" hideLastTrans="0" cnt="1">
            <dgm:layoutNode name="sibTrans" styleLbl="node1">
              <dgm:alg type="conn"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begPad"/>
                <dgm:constr type="endPad"/>
              </dgm:constrLst>
              <dgm:ruleLst/>
            </dgm:layoutNode>
          </dgm:forEach>
        </dgm:if>
        <dgm:else name="Name12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D5C5241-A341-45DC-89A2-95AA9F2D3DD8}" type="datetimeFigureOut">
              <a:rPr lang="ru-RU" smtClean="0"/>
              <a:t>07.04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D31F935-5D39-460A-82A4-827473454D2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687515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0FBCD0-C5D3-421E-A949-4C308F2D3283}" type="slidenum">
              <a:rPr lang="ru-RU" smtClean="0"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720537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B4491A7-7533-458B-9A0F-FD26C3988249}" type="slidenum">
              <a:rPr lang="ru-RU" smtClean="0"/>
              <a:t>3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86716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68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6140412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wmf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D53E800-F378-5152-1F6C-54188F749A1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E72084DC-6B2C-55B0-8F2D-EF66E7CF37A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5E6A10D-EEC3-DAB1-96E4-2BC67C34A4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E1EB70-A272-41E2-985B-D89031590271}" type="datetimeFigureOut">
              <a:rPr lang="ru-RU" smtClean="0"/>
              <a:t>07.04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2DFA0FF-6471-043F-0C71-FF36C66D44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7B257D1-E035-A227-DCB4-0198E6A061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843B38-CCC0-40FB-A9EB-82A74222CE2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111809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B231F4A-C774-5867-8D0F-01CB54190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7E5CE7A6-D258-490B-CE98-B7022B353E6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BA1EA26D-174A-0397-4F45-EDEE2B37EE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E1EB70-A272-41E2-985B-D89031590271}" type="datetimeFigureOut">
              <a:rPr lang="ru-RU" smtClean="0"/>
              <a:t>07.04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01559B55-77A1-2B4D-5E50-8A2AE9F668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AF1FB67-E86B-5EA9-4EE8-A933C39204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843B38-CCC0-40FB-A9EB-82A74222CE2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223095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3F674FCD-E8BE-949E-629D-F99E6681884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7CFD8C9A-F0DB-DD56-E85E-C3842AB951B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38B8426-0295-6025-829D-5EEBAE915B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E1EB70-A272-41E2-985B-D89031590271}" type="datetimeFigureOut">
              <a:rPr lang="ru-RU" smtClean="0"/>
              <a:t>07.04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DFB25C6-9398-AFB6-E510-8F761D4333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D1E4763-1E82-C7A1-650F-29D9E507F7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843B38-CCC0-40FB-A9EB-82A74222CE2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38156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4751852" y="1220758"/>
            <a:ext cx="6240693" cy="2592287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872896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7"/>
            <a:ext cx="103632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7.04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258125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7.04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8679835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5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7.04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63210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600" y="1600202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600202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7.04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0271045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2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2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7.04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902113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7.04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660622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7.04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436488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F774CD6-4F8D-9A9F-B890-0F5DB995C8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21B2DB91-6674-1D0E-7712-1698D514F6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9E74A41-7D99-2020-375C-4AFDC92C65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E1EB70-A272-41E2-985B-D89031590271}" type="datetimeFigureOut">
              <a:rPr lang="ru-RU" smtClean="0"/>
              <a:t>07.04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31D1199-EA2A-84ED-4FA2-3588D6E142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4F11143F-C3A4-0309-2AE0-938139B80A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843B38-CCC0-40FB-A9EB-82A74222CE2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675505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4" y="273052"/>
            <a:ext cx="6815668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7.04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6489427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1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9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7.04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084154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7.04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8606467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40"/>
            <a:ext cx="27432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40"/>
            <a:ext cx="80264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t>07.04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542242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1531" y="188640"/>
            <a:ext cx="9878484" cy="1209674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001" y="1728789"/>
            <a:ext cx="11260665" cy="43973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139045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OverTx">
  <p:cSld name="Заголовок и объект над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7815"/>
            <a:ext cx="10972800" cy="11398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2"/>
            <a:ext cx="10972800" cy="218916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3941764"/>
            <a:ext cx="10972800" cy="218916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12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13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14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EBCF63-D969-498F-A407-711E5EEAA732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98556588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r Verbinder 13"/>
          <p:cNvCxnSpPr/>
          <p:nvPr/>
        </p:nvCxnSpPr>
        <p:spPr bwMode="gray">
          <a:xfrm>
            <a:off x="0" y="6446044"/>
            <a:ext cx="12192000" cy="0"/>
          </a:xfrm>
          <a:prstGeom prst="line">
            <a:avLst/>
          </a:prstGeom>
          <a:ln w="31750">
            <a:gradFill>
              <a:gsLst>
                <a:gs pos="100000">
                  <a:schemeClr val="accent2"/>
                </a:gs>
                <a:gs pos="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Untertitel 2"/>
          <p:cNvSpPr>
            <a:spLocks noGrp="1"/>
          </p:cNvSpPr>
          <p:nvPr>
            <p:ph type="subTitle" idx="10"/>
          </p:nvPr>
        </p:nvSpPr>
        <p:spPr bwMode="gray">
          <a:xfrm>
            <a:off x="449398" y="914429"/>
            <a:ext cx="9787924" cy="461665"/>
          </a:xfrm>
        </p:spPr>
        <p:txBody>
          <a:bodyPr>
            <a:sp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0" indent="0" algn="l">
              <a:buNone/>
              <a:defRPr>
                <a:solidFill>
                  <a:schemeClr val="tx1"/>
                </a:solidFill>
              </a:defRPr>
            </a:lvl2pPr>
            <a:lvl3pPr marL="1586" indent="0" algn="l">
              <a:buNone/>
              <a:defRPr>
                <a:solidFill>
                  <a:schemeClr val="tx1"/>
                </a:solidFill>
              </a:defRPr>
            </a:lvl3pPr>
            <a:lvl4pPr marL="3171" indent="0" algn="l">
              <a:buNone/>
              <a:defRPr>
                <a:solidFill>
                  <a:schemeClr val="tx1"/>
                </a:solidFill>
              </a:defRPr>
            </a:lvl4pPr>
            <a:lvl5pPr marL="3171" indent="0" algn="l">
              <a:buNone/>
              <a:defRPr>
                <a:solidFill>
                  <a:schemeClr val="tx1"/>
                </a:solidFill>
              </a:defRPr>
            </a:lvl5pPr>
            <a:lvl6pPr marL="0" indent="0" algn="l">
              <a:buNone/>
              <a:defRPr sz="1800">
                <a:solidFill>
                  <a:schemeClr val="tx1"/>
                </a:solidFill>
              </a:defRPr>
            </a:lvl6pPr>
            <a:lvl7pPr marL="0" indent="0" algn="l">
              <a:buNone/>
              <a:defRPr sz="1800">
                <a:solidFill>
                  <a:schemeClr val="tx1"/>
                </a:solidFill>
              </a:defRPr>
            </a:lvl7pPr>
            <a:lvl8pPr marL="0" indent="0" algn="l">
              <a:buNone/>
              <a:defRPr sz="1800">
                <a:solidFill>
                  <a:schemeClr val="tx1"/>
                </a:solidFill>
              </a:defRPr>
            </a:lvl8pPr>
            <a:lvl9pPr marL="0" indent="0" algn="l">
              <a:buNone/>
              <a:defRPr sz="1800">
                <a:solidFill>
                  <a:schemeClr val="tx1"/>
                </a:solidFill>
              </a:defRPr>
            </a:lvl9pPr>
          </a:lstStyle>
          <a:p>
            <a:pPr lvl="0"/>
            <a:r>
              <a:rPr lang="ru-RU" noProof="0"/>
              <a:t>Образец подзаголовка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39106" y="381095"/>
            <a:ext cx="9798220" cy="485109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ru-RU" noProof="0"/>
              <a:t>Образец заголовка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>
          <a:xfrm>
            <a:off x="459714" y="1622433"/>
            <a:ext cx="11241817" cy="4533113"/>
          </a:xfrm>
        </p:spPr>
        <p:txBody>
          <a:bodyPr/>
          <a:lstStyle>
            <a:lvl1pPr>
              <a:defRPr/>
            </a:lvl1pPr>
            <a:lvl4pPr>
              <a:defRPr/>
            </a:lvl4pPr>
          </a:lstStyle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  <a:endParaRPr lang="en-US" noProof="0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 defTabSz="9144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rgbClr val="4D4D4D"/>
                </a:solidFill>
                <a:latin typeface="Arial" panose="020B0604020202020204" pitchFamily="34" charset="0"/>
                <a:cs typeface="Arial" pitchFamily="34" charset="0"/>
              </a:defRPr>
            </a:lvl1pPr>
            <a:lvl2pPr marL="0" indent="0">
              <a:defRPr sz="800">
                <a:solidFill>
                  <a:schemeClr val="tx1"/>
                </a:solidFill>
              </a:defRPr>
            </a:lvl2pPr>
            <a:lvl3pPr marL="1586" indent="0">
              <a:defRPr sz="800">
                <a:solidFill>
                  <a:schemeClr val="tx1"/>
                </a:solidFill>
              </a:defRPr>
            </a:lvl3pPr>
            <a:lvl4pPr marL="3171" indent="0">
              <a:defRPr sz="800">
                <a:solidFill>
                  <a:schemeClr val="tx1"/>
                </a:solidFill>
              </a:defRPr>
            </a:lvl4pPr>
            <a:lvl5pPr marL="3171" indent="0">
              <a:defRPr sz="800">
                <a:solidFill>
                  <a:schemeClr val="tx1"/>
                </a:solidFill>
              </a:defRPr>
            </a:lvl5pPr>
            <a:lvl6pPr marL="0" indent="0">
              <a:defRPr sz="800">
                <a:solidFill>
                  <a:schemeClr val="tx1"/>
                </a:solidFill>
              </a:defRPr>
            </a:lvl6pPr>
            <a:lvl7pPr marL="0" indent="0" algn="l">
              <a:defRPr sz="800">
                <a:solidFill>
                  <a:schemeClr val="tx1"/>
                </a:solidFill>
              </a:defRPr>
            </a:lvl7pPr>
            <a:lvl8pPr marL="0" indent="0">
              <a:defRPr sz="800">
                <a:solidFill>
                  <a:schemeClr val="tx1"/>
                </a:solidFill>
              </a:defRPr>
            </a:lvl8pPr>
            <a:lvl9pPr marL="0" indent="0">
              <a:defRPr sz="800"/>
            </a:lvl9pPr>
          </a:lstStyle>
          <a:p>
            <a:pPr>
              <a:defRPr/>
            </a:pPr>
            <a:r>
              <a:rPr lang="en-US" dirty="0"/>
              <a:t>Bayer 4:3 Template 2010 • February 2016</a:t>
            </a:r>
          </a:p>
        </p:txBody>
      </p:sp>
      <p:sp>
        <p:nvSpPr>
          <p:cNvPr id="7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defRPr/>
            </a:lvl1pPr>
          </a:lstStyle>
          <a:p>
            <a:pPr>
              <a:defRPr/>
            </a:pPr>
            <a:r>
              <a:rPr lang="en-US" altLang="ru-RU"/>
              <a:t>Page </a:t>
            </a:r>
            <a:fld id="{1B8D6FAF-77A1-4D77-8128-523FEBF0F772}" type="slidenum">
              <a:rPr lang="en-US" altLang="ru-RU" smtClean="0"/>
              <a:pPr>
                <a:defRPr/>
              </a:pPr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1897422278"/>
      </p:ext>
    </p:extLst>
  </p:cSld>
  <p:clrMapOvr>
    <a:masterClrMapping/>
  </p:clrMapOvr>
  <p:transition spd="med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5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719666" y="305999"/>
            <a:ext cx="11091375" cy="802800"/>
          </a:xfrm>
          <a:prstGeom prst="rect">
            <a:avLst/>
          </a:prstGeom>
        </p:spPr>
        <p:txBody>
          <a:bodyPr tIns="126000" anchor="t"/>
          <a:lstStyle>
            <a:lvl1pPr>
              <a:lnSpc>
                <a:spcPct val="75000"/>
              </a:lnSpc>
              <a:defRPr b="0">
                <a:solidFill>
                  <a:schemeClr val="accent4"/>
                </a:solidFill>
              </a:defRPr>
            </a:lvl1pPr>
          </a:lstStyle>
          <a:p>
            <a:r>
              <a:rPr lang="ru-RU" noProof="0"/>
              <a:t>Образец заголовка</a:t>
            </a:r>
            <a:endParaRPr lang="en-US" noProof="0" dirty="0"/>
          </a:p>
        </p:txBody>
      </p:sp>
      <p:sp>
        <p:nvSpPr>
          <p:cNvPr id="11" name="Textplatzhalter 9" descr="Subtitle"/>
          <p:cNvSpPr>
            <a:spLocks noGrp="1"/>
          </p:cNvSpPr>
          <p:nvPr>
            <p:ph type="body" sz="quarter" idx="10"/>
          </p:nvPr>
        </p:nvSpPr>
        <p:spPr>
          <a:xfrm>
            <a:off x="720000" y="738562"/>
            <a:ext cx="11081856" cy="367571"/>
          </a:xfrm>
        </p:spPr>
        <p:txBody>
          <a:bodyPr anchor="b">
            <a:noAutofit/>
          </a:bodyPr>
          <a:lstStyle>
            <a:lvl1pPr marL="0" indent="0">
              <a:lnSpc>
                <a:spcPct val="95000"/>
              </a:lnSpc>
              <a:buNone/>
              <a:defRPr sz="2000" b="0" i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noProof="0"/>
              <a:t>Образец текста</a:t>
            </a:r>
          </a:p>
        </p:txBody>
      </p:sp>
      <p:sp>
        <p:nvSpPr>
          <p:cNvPr id="10" name="Rectangle 4"/>
          <p:cNvSpPr>
            <a:spLocks noGrp="1" noChangeArrowheads="1"/>
          </p:cNvSpPr>
          <p:nvPr>
            <p:ph idx="1"/>
          </p:nvPr>
        </p:nvSpPr>
        <p:spPr bwMode="gray">
          <a:xfrm>
            <a:off x="671413" y="1343025"/>
            <a:ext cx="11089217" cy="4930775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  <a:endParaRPr lang="en-US" noProof="0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916517" y="6402390"/>
            <a:ext cx="8636000" cy="250825"/>
          </a:xfrm>
        </p:spPr>
        <p:txBody>
          <a:bodyPr/>
          <a:lstStyle>
            <a:lvl1pPr eaLnBrk="1" hangingPunct="1">
              <a:defRPr sz="900" baseline="0">
                <a:solidFill>
                  <a:srgbClr val="6685A3"/>
                </a:solidFill>
                <a:cs typeface="Arial" charset="0"/>
              </a:defRPr>
            </a:lvl1pPr>
          </a:lstStyle>
          <a:p>
            <a:endParaRPr lang="ru-RU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17552" y="6402388"/>
            <a:ext cx="533401" cy="247650"/>
          </a:xfrm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900">
                <a:solidFill>
                  <a:srgbClr val="6685A3"/>
                </a:solidFill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05800779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8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350">
                <a:solidFill>
                  <a:schemeClr val="accent1"/>
                </a:solidFill>
              </a:defRPr>
            </a:lvl1pPr>
            <a:lvl2pPr marL="0" indent="0" algn="l">
              <a:buNone/>
              <a:defRPr sz="1350">
                <a:solidFill>
                  <a:schemeClr val="accent1"/>
                </a:solidFill>
              </a:defRPr>
            </a:lvl2pPr>
            <a:lvl3pPr marL="0" indent="0" algn="l">
              <a:buNone/>
              <a:defRPr sz="1350">
                <a:solidFill>
                  <a:schemeClr val="accent1"/>
                </a:solidFill>
              </a:defRPr>
            </a:lvl3pPr>
            <a:lvl4pPr marL="0" indent="0" algn="l">
              <a:buNone/>
              <a:defRPr sz="1350">
                <a:solidFill>
                  <a:schemeClr val="accent1"/>
                </a:solidFill>
              </a:defRPr>
            </a:lvl4pPr>
            <a:lvl5pPr marL="0" indent="0" algn="l">
              <a:buNone/>
              <a:defRPr sz="1350">
                <a:solidFill>
                  <a:schemeClr val="accent1"/>
                </a:solidFill>
              </a:defRPr>
            </a:lvl5pPr>
            <a:lvl6pPr marL="0" indent="0" algn="l">
              <a:buNone/>
              <a:defRPr sz="1350">
                <a:solidFill>
                  <a:schemeClr val="accent1"/>
                </a:solidFill>
              </a:defRPr>
            </a:lvl6pPr>
            <a:lvl7pPr marL="0" indent="0" algn="l">
              <a:buNone/>
              <a:defRPr sz="1350">
                <a:solidFill>
                  <a:schemeClr val="accent1"/>
                </a:solidFill>
              </a:defRPr>
            </a:lvl7pPr>
            <a:lvl8pPr marL="0" indent="0" algn="l">
              <a:buNone/>
              <a:defRPr sz="1350">
                <a:solidFill>
                  <a:schemeClr val="accent1"/>
                </a:solidFill>
              </a:defRPr>
            </a:lvl8pPr>
            <a:lvl9pPr marL="0" indent="0" algn="l">
              <a:buNone/>
              <a:defRPr sz="1350">
                <a:solidFill>
                  <a:schemeClr val="accent1"/>
                </a:solidFill>
              </a:defRPr>
            </a:lvl9pPr>
          </a:lstStyle>
          <a:p>
            <a:pPr lvl="0"/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981950" y="181938"/>
            <a:ext cx="10799865" cy="8640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B6DB8775-8226-4E8C-BBBC-5A871E3E17A7}" type="datetime1">
              <a:rPr lang="en-US" smtClean="0"/>
              <a:t>4/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/// Bayer 16:9 Template /// September 2018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75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3821450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825">
          <p15:clr>
            <a:srgbClr val="FBAE40"/>
          </p15:clr>
        </p15:guide>
        <p15:guide id="2" pos="9897">
          <p15:clr>
            <a:srgbClr val="FBAE40"/>
          </p15:clr>
        </p15:guide>
        <p15:guide id="3" orient="horz" pos="4086">
          <p15:clr>
            <a:srgbClr val="FBAE40"/>
          </p15:clr>
        </p15:guide>
        <p15:guide id="4" orient="horz" pos="1094">
          <p15:clr>
            <a:srgbClr val="FBAE40"/>
          </p15:clr>
        </p15:guide>
        <p15:guide id="5" pos="2867">
          <p15:clr>
            <a:srgbClr val="FBAE40"/>
          </p15:clr>
        </p15:guide>
        <p15:guide id="6" pos="3168">
          <p15:clr>
            <a:srgbClr val="FBAE40"/>
          </p15:clr>
        </p15:guide>
        <p15:guide id="7" pos="5211">
          <p15:clr>
            <a:srgbClr val="FBAE40"/>
          </p15:clr>
        </p15:guide>
        <p15:guide id="8" pos="5361">
          <p15:clr>
            <a:srgbClr val="FBAE40"/>
          </p15:clr>
        </p15:guide>
        <p15:guide id="9" pos="5512">
          <p15:clr>
            <a:srgbClr val="FBAE40"/>
          </p15:clr>
        </p15:guide>
        <p15:guide id="10" pos="7556">
          <p15:clr>
            <a:srgbClr val="FBAE40"/>
          </p15:clr>
        </p15:guide>
        <p15:guide id="11" pos="7859">
          <p15:clr>
            <a:srgbClr val="FBAE40"/>
          </p15:clr>
        </p15:guide>
        <p15:guide id="12" orient="horz" pos="2478">
          <p15:clr>
            <a:srgbClr val="FBAE40"/>
          </p15:clr>
        </p15:guide>
        <p15:guide id="13" orient="horz" pos="2704">
          <p15:clr>
            <a:srgbClr val="FBAE40"/>
          </p15:clr>
        </p15:guide>
        <p15:guide id="14" orient="horz" pos="259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efault -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42123513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50B6FC4-85B4-8F59-7314-5DFF1C0E1D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E5F874B3-5A5B-A8A2-1C88-612DDA8548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56F1005C-70D1-2EDE-BF04-84A7784E46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E1EB70-A272-41E2-985B-D89031590271}" type="datetimeFigureOut">
              <a:rPr lang="ru-RU" smtClean="0"/>
              <a:t>07.04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FA00F94-B31B-1A2C-8704-43101D98C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3646FC3-4282-C76D-AE5A-9171221080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843B38-CCC0-40FB-A9EB-82A74222CE2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9758073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71531" y="188640"/>
            <a:ext cx="9878484" cy="1209674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001" y="1728789"/>
            <a:ext cx="11260665" cy="43973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1457166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r Verbinder 13"/>
          <p:cNvCxnSpPr/>
          <p:nvPr userDrawn="1"/>
        </p:nvCxnSpPr>
        <p:spPr bwMode="gray">
          <a:xfrm>
            <a:off x="0" y="6446044"/>
            <a:ext cx="12192000" cy="0"/>
          </a:xfrm>
          <a:prstGeom prst="line">
            <a:avLst/>
          </a:prstGeom>
          <a:ln w="31750">
            <a:gradFill>
              <a:gsLst>
                <a:gs pos="100000">
                  <a:schemeClr val="accent2"/>
                </a:gs>
                <a:gs pos="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Untertitel 2"/>
          <p:cNvSpPr>
            <a:spLocks noGrp="1"/>
          </p:cNvSpPr>
          <p:nvPr>
            <p:ph type="subTitle" idx="10"/>
          </p:nvPr>
        </p:nvSpPr>
        <p:spPr bwMode="gray">
          <a:xfrm>
            <a:off x="449398" y="914429"/>
            <a:ext cx="9787924" cy="461665"/>
          </a:xfrm>
        </p:spPr>
        <p:txBody>
          <a:bodyPr>
            <a:sp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0" indent="0" algn="l">
              <a:buNone/>
              <a:defRPr>
                <a:solidFill>
                  <a:schemeClr val="tx1"/>
                </a:solidFill>
              </a:defRPr>
            </a:lvl2pPr>
            <a:lvl3pPr marL="1586" indent="0" algn="l">
              <a:buNone/>
              <a:defRPr>
                <a:solidFill>
                  <a:schemeClr val="tx1"/>
                </a:solidFill>
              </a:defRPr>
            </a:lvl3pPr>
            <a:lvl4pPr marL="3171" indent="0" algn="l">
              <a:buNone/>
              <a:defRPr>
                <a:solidFill>
                  <a:schemeClr val="tx1"/>
                </a:solidFill>
              </a:defRPr>
            </a:lvl4pPr>
            <a:lvl5pPr marL="3171" indent="0" algn="l">
              <a:buNone/>
              <a:defRPr>
                <a:solidFill>
                  <a:schemeClr val="tx1"/>
                </a:solidFill>
              </a:defRPr>
            </a:lvl5pPr>
            <a:lvl6pPr marL="0" indent="0" algn="l">
              <a:buNone/>
              <a:defRPr sz="1800">
                <a:solidFill>
                  <a:schemeClr val="tx1"/>
                </a:solidFill>
              </a:defRPr>
            </a:lvl6pPr>
            <a:lvl7pPr marL="0" indent="0" algn="l">
              <a:buNone/>
              <a:defRPr sz="1800">
                <a:solidFill>
                  <a:schemeClr val="tx1"/>
                </a:solidFill>
              </a:defRPr>
            </a:lvl7pPr>
            <a:lvl8pPr marL="0" indent="0" algn="l">
              <a:buNone/>
              <a:defRPr sz="1800">
                <a:solidFill>
                  <a:schemeClr val="tx1"/>
                </a:solidFill>
              </a:defRPr>
            </a:lvl8pPr>
            <a:lvl9pPr marL="0" indent="0" algn="l">
              <a:buNone/>
              <a:defRPr sz="1800">
                <a:solidFill>
                  <a:schemeClr val="tx1"/>
                </a:solidFill>
              </a:defRPr>
            </a:lvl9pPr>
          </a:lstStyle>
          <a:p>
            <a:pPr lvl="0"/>
            <a:r>
              <a:rPr lang="ru-RU" noProof="0"/>
              <a:t>Образец подзаголовка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39106" y="381095"/>
            <a:ext cx="9798220" cy="485109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ru-RU" noProof="0"/>
              <a:t>Образец заголовка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>
          <a:xfrm>
            <a:off x="459714" y="1622433"/>
            <a:ext cx="11241817" cy="4533113"/>
          </a:xfrm>
        </p:spPr>
        <p:txBody>
          <a:bodyPr/>
          <a:lstStyle>
            <a:lvl1pPr>
              <a:defRPr/>
            </a:lvl1pPr>
            <a:lvl4pPr>
              <a:defRPr/>
            </a:lvl4pPr>
          </a:lstStyle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  <a:endParaRPr lang="en-US" noProof="0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 defTabSz="9144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rgbClr val="4D4D4D"/>
                </a:solidFill>
                <a:latin typeface="Arial" panose="020B0604020202020204" pitchFamily="34" charset="0"/>
                <a:cs typeface="Arial" pitchFamily="34" charset="0"/>
              </a:defRPr>
            </a:lvl1pPr>
            <a:lvl2pPr marL="0" indent="0">
              <a:defRPr sz="800">
                <a:solidFill>
                  <a:schemeClr val="tx1"/>
                </a:solidFill>
              </a:defRPr>
            </a:lvl2pPr>
            <a:lvl3pPr marL="1586" indent="0">
              <a:defRPr sz="800">
                <a:solidFill>
                  <a:schemeClr val="tx1"/>
                </a:solidFill>
              </a:defRPr>
            </a:lvl3pPr>
            <a:lvl4pPr marL="3171" indent="0">
              <a:defRPr sz="800">
                <a:solidFill>
                  <a:schemeClr val="tx1"/>
                </a:solidFill>
              </a:defRPr>
            </a:lvl4pPr>
            <a:lvl5pPr marL="3171" indent="0">
              <a:defRPr sz="800">
                <a:solidFill>
                  <a:schemeClr val="tx1"/>
                </a:solidFill>
              </a:defRPr>
            </a:lvl5pPr>
            <a:lvl6pPr marL="0" indent="0">
              <a:defRPr sz="800">
                <a:solidFill>
                  <a:schemeClr val="tx1"/>
                </a:solidFill>
              </a:defRPr>
            </a:lvl6pPr>
            <a:lvl7pPr marL="0" indent="0" algn="l">
              <a:defRPr sz="800">
                <a:solidFill>
                  <a:schemeClr val="tx1"/>
                </a:solidFill>
              </a:defRPr>
            </a:lvl7pPr>
            <a:lvl8pPr marL="0" indent="0">
              <a:defRPr sz="800">
                <a:solidFill>
                  <a:schemeClr val="tx1"/>
                </a:solidFill>
              </a:defRPr>
            </a:lvl8pPr>
            <a:lvl9pPr marL="0" indent="0">
              <a:defRPr sz="800"/>
            </a:lvl9pPr>
          </a:lstStyle>
          <a:p>
            <a:pPr>
              <a:defRPr/>
            </a:pPr>
            <a:r>
              <a:rPr lang="en-US" dirty="0"/>
              <a:t>Bayer 4:3 Template 2010 • February 2016</a:t>
            </a:r>
          </a:p>
        </p:txBody>
      </p:sp>
      <p:sp>
        <p:nvSpPr>
          <p:cNvPr id="7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defRPr/>
            </a:lvl1pPr>
          </a:lstStyle>
          <a:p>
            <a:pPr>
              <a:defRPr/>
            </a:pPr>
            <a:r>
              <a:rPr lang="en-US" altLang="ru-RU"/>
              <a:t>Page </a:t>
            </a:r>
            <a:fld id="{1B8D6FAF-77A1-4D77-8128-523FEBF0F772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2212186203"/>
      </p:ext>
    </p:extLst>
  </p:cSld>
  <p:clrMapOvr>
    <a:masterClrMapping/>
  </p:clrMapOvr>
  <p:transition spd="med"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50" y="1138299"/>
            <a:ext cx="10799865" cy="252000"/>
          </a:xfrm>
        </p:spPr>
        <p:txBody>
          <a:bodyPr anchor="t"/>
          <a:lstStyle>
            <a:lvl1pPr marL="0" indent="0" algn="l">
              <a:buNone/>
              <a:defRPr sz="1867">
                <a:solidFill>
                  <a:schemeClr val="accent1"/>
                </a:solidFill>
              </a:defRPr>
            </a:lvl1pPr>
            <a:lvl2pPr marL="0" indent="0" algn="l">
              <a:buNone/>
              <a:defRPr sz="1867">
                <a:solidFill>
                  <a:schemeClr val="accent1"/>
                </a:solidFill>
              </a:defRPr>
            </a:lvl2pPr>
            <a:lvl3pPr marL="0" indent="0" algn="l">
              <a:buNone/>
              <a:defRPr sz="1867">
                <a:solidFill>
                  <a:schemeClr val="accent1"/>
                </a:solidFill>
              </a:defRPr>
            </a:lvl3pPr>
            <a:lvl4pPr marL="0" indent="0" algn="l">
              <a:buNone/>
              <a:defRPr sz="1867">
                <a:solidFill>
                  <a:schemeClr val="accent1"/>
                </a:solidFill>
              </a:defRPr>
            </a:lvl4pPr>
            <a:lvl5pPr marL="0" indent="0" algn="l">
              <a:buNone/>
              <a:defRPr sz="1867">
                <a:solidFill>
                  <a:schemeClr val="accent1"/>
                </a:solidFill>
              </a:defRPr>
            </a:lvl5pPr>
            <a:lvl6pPr marL="0" indent="0" algn="l">
              <a:buNone/>
              <a:defRPr sz="1867">
                <a:solidFill>
                  <a:schemeClr val="accent1"/>
                </a:solidFill>
              </a:defRPr>
            </a:lvl6pPr>
            <a:lvl7pPr marL="0" indent="0" algn="l">
              <a:buNone/>
              <a:defRPr sz="1867">
                <a:solidFill>
                  <a:schemeClr val="accent1"/>
                </a:solidFill>
              </a:defRPr>
            </a:lvl7pPr>
            <a:lvl8pPr marL="0" indent="0" algn="l">
              <a:buNone/>
              <a:defRPr sz="1867">
                <a:solidFill>
                  <a:schemeClr val="accent1"/>
                </a:solidFill>
              </a:defRPr>
            </a:lvl8pPr>
            <a:lvl9pPr marL="0" indent="0" algn="l">
              <a:buNone/>
              <a:defRPr sz="1867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r>
              <a:rPr lang="ru-RU"/>
              <a:t>12/4/2018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ru-RU">
                <a:solidFill>
                  <a:srgbClr val="10384F"/>
                </a:solidFill>
              </a:rPr>
              <a:t>Обучающая презентация Тералив</a:t>
            </a:r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980410" y="1732751"/>
            <a:ext cx="10801405" cy="475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9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6045" y="617155"/>
            <a:ext cx="399825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66569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666913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7"/>
            <a:ext cx="103632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2FDB59-8CC1-4AB0-AE9D-F65566918335}" type="datetime1">
              <a:rPr lang="ru-RU" smtClean="0"/>
              <a:t>07.04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2158325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F3C6B5-3E62-4532-A097-D692585A352E}" type="datetime1">
              <a:rPr lang="ru-RU" smtClean="0"/>
              <a:t>07.04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9184328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5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69C9AE-CAFC-451F-A2AF-B379694176A8}" type="datetime1">
              <a:rPr lang="ru-RU" smtClean="0"/>
              <a:t>07.04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0853654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09600" y="1600202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97600" y="1600202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9D538E-C892-4F1F-88FA-3346C604E5E3}" type="datetime1">
              <a:rPr lang="ru-RU" smtClean="0"/>
              <a:t>07.04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8822955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2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09602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DD2F66-7BA4-4149-A3DE-4878BA7343CB}" type="datetime1">
              <a:rPr lang="ru-RU" smtClean="0"/>
              <a:t>07.04.2023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7631692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5BBA35-FB9E-4B6C-8D93-C8D61155437C}" type="datetime1">
              <a:rPr lang="ru-RU" smtClean="0"/>
              <a:t>07.04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649589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81AEA96-3EFE-C190-4781-384DEDAC79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36CCA3AB-E439-0FA8-27FB-2A64D1003BA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D6380655-5E03-AD15-0E07-9B95563EAF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42800E38-AF43-D862-4BD1-5FEDBDF899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E1EB70-A272-41E2-985B-D89031590271}" type="datetimeFigureOut">
              <a:rPr lang="ru-RU" smtClean="0"/>
              <a:t>07.04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D8E1F9DE-53E4-483D-0B1F-358703C74D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492ECD5B-FC24-9DC7-B3D4-94EB864C18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843B38-CCC0-40FB-A9EB-82A74222CE2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7321357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178B22-51F3-484F-8900-F6941557C639}" type="datetime1">
              <a:rPr lang="ru-RU" smtClean="0"/>
              <a:t>07.04.2023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747887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766734" y="273052"/>
            <a:ext cx="6815668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0CE915-DEDD-43E1-AF3F-B5CE56442C37}" type="datetime1">
              <a:rPr lang="ru-RU" smtClean="0"/>
              <a:t>07.04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5988079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1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9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D61ADA-EEB4-4F2A-A61C-310429B0FEC4}" type="datetime1">
              <a:rPr lang="ru-RU" smtClean="0"/>
              <a:t>07.04.2023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152555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1374E4-EF44-4634-90DF-C7023CE7BB8A}" type="datetime1">
              <a:rPr lang="ru-RU" smtClean="0"/>
              <a:t>07.04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7694140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40"/>
            <a:ext cx="27432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40"/>
            <a:ext cx="80264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088044-CBA4-4E4C-8592-9DD2B0ACBAD0}" type="datetime1">
              <a:rPr lang="ru-RU" smtClean="0"/>
              <a:t>07.04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3026496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Gerader Verbinder 13"/>
          <p:cNvCxnSpPr/>
          <p:nvPr userDrawn="1"/>
        </p:nvCxnSpPr>
        <p:spPr bwMode="gray">
          <a:xfrm>
            <a:off x="0" y="6446044"/>
            <a:ext cx="12192000" cy="0"/>
          </a:xfrm>
          <a:prstGeom prst="line">
            <a:avLst/>
          </a:prstGeom>
          <a:ln w="31750">
            <a:gradFill>
              <a:gsLst>
                <a:gs pos="100000">
                  <a:schemeClr val="accent2"/>
                </a:gs>
                <a:gs pos="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Untertitel 2"/>
          <p:cNvSpPr>
            <a:spLocks noGrp="1"/>
          </p:cNvSpPr>
          <p:nvPr>
            <p:ph type="subTitle" idx="10"/>
          </p:nvPr>
        </p:nvSpPr>
        <p:spPr bwMode="gray">
          <a:xfrm>
            <a:off x="449398" y="914429"/>
            <a:ext cx="9787924" cy="461665"/>
          </a:xfrm>
        </p:spPr>
        <p:txBody>
          <a:bodyPr>
            <a:spAutoFit/>
          </a:bodyPr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0" indent="0" algn="l">
              <a:buNone/>
              <a:defRPr>
                <a:solidFill>
                  <a:schemeClr val="tx1"/>
                </a:solidFill>
              </a:defRPr>
            </a:lvl2pPr>
            <a:lvl3pPr marL="1586" indent="0" algn="l">
              <a:buNone/>
              <a:defRPr>
                <a:solidFill>
                  <a:schemeClr val="tx1"/>
                </a:solidFill>
              </a:defRPr>
            </a:lvl3pPr>
            <a:lvl4pPr marL="3171" indent="0" algn="l">
              <a:buNone/>
              <a:defRPr>
                <a:solidFill>
                  <a:schemeClr val="tx1"/>
                </a:solidFill>
              </a:defRPr>
            </a:lvl4pPr>
            <a:lvl5pPr marL="3171" indent="0" algn="l">
              <a:buNone/>
              <a:defRPr>
                <a:solidFill>
                  <a:schemeClr val="tx1"/>
                </a:solidFill>
              </a:defRPr>
            </a:lvl5pPr>
            <a:lvl6pPr marL="0" indent="0" algn="l">
              <a:buNone/>
              <a:defRPr sz="1800">
                <a:solidFill>
                  <a:schemeClr val="tx1"/>
                </a:solidFill>
              </a:defRPr>
            </a:lvl6pPr>
            <a:lvl7pPr marL="0" indent="0" algn="l">
              <a:buNone/>
              <a:defRPr sz="1800">
                <a:solidFill>
                  <a:schemeClr val="tx1"/>
                </a:solidFill>
              </a:defRPr>
            </a:lvl7pPr>
            <a:lvl8pPr marL="0" indent="0" algn="l">
              <a:buNone/>
              <a:defRPr sz="1800">
                <a:solidFill>
                  <a:schemeClr val="tx1"/>
                </a:solidFill>
              </a:defRPr>
            </a:lvl8pPr>
            <a:lvl9pPr marL="0" indent="0" algn="l">
              <a:buNone/>
              <a:defRPr sz="1800">
                <a:solidFill>
                  <a:schemeClr val="tx1"/>
                </a:solidFill>
              </a:defRPr>
            </a:lvl9pPr>
          </a:lstStyle>
          <a:p>
            <a:pPr lvl="0"/>
            <a:r>
              <a:rPr lang="ru-RU" noProof="0"/>
              <a:t>Образец подзаголовка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>
          <a:xfrm>
            <a:off x="439106" y="381095"/>
            <a:ext cx="9798220" cy="485109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ru-RU" noProof="0"/>
              <a:t>Образец заголовка</a:t>
            </a:r>
            <a:endParaRPr lang="en-US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>
          <a:xfrm>
            <a:off x="459714" y="1622433"/>
            <a:ext cx="11241817" cy="4533113"/>
          </a:xfrm>
        </p:spPr>
        <p:txBody>
          <a:bodyPr/>
          <a:lstStyle>
            <a:lvl1pPr>
              <a:defRPr/>
            </a:lvl1pPr>
            <a:lvl4pPr>
              <a:defRPr/>
            </a:lvl4pPr>
          </a:lstStyle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  <a:endParaRPr lang="en-US" noProof="0" dirty="0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l" defTabSz="9144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rgbClr val="4D4D4D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defRPr sz="800">
                <a:solidFill>
                  <a:schemeClr val="tx1"/>
                </a:solidFill>
              </a:defRPr>
            </a:lvl2pPr>
            <a:lvl3pPr marL="1586" indent="0">
              <a:defRPr sz="800">
                <a:solidFill>
                  <a:schemeClr val="tx1"/>
                </a:solidFill>
              </a:defRPr>
            </a:lvl3pPr>
            <a:lvl4pPr marL="3171" indent="0">
              <a:defRPr sz="800">
                <a:solidFill>
                  <a:schemeClr val="tx1"/>
                </a:solidFill>
              </a:defRPr>
            </a:lvl4pPr>
            <a:lvl5pPr marL="3171" indent="0">
              <a:defRPr sz="800">
                <a:solidFill>
                  <a:schemeClr val="tx1"/>
                </a:solidFill>
              </a:defRPr>
            </a:lvl5pPr>
            <a:lvl6pPr marL="0" indent="0">
              <a:defRPr sz="800">
                <a:solidFill>
                  <a:schemeClr val="tx1"/>
                </a:solidFill>
              </a:defRPr>
            </a:lvl6pPr>
            <a:lvl7pPr marL="0" indent="0" algn="l">
              <a:defRPr sz="800">
                <a:solidFill>
                  <a:schemeClr val="tx1"/>
                </a:solidFill>
              </a:defRPr>
            </a:lvl7pPr>
            <a:lvl8pPr marL="0" indent="0">
              <a:defRPr sz="800">
                <a:solidFill>
                  <a:schemeClr val="tx1"/>
                </a:solidFill>
              </a:defRPr>
            </a:lvl8pPr>
            <a:lvl9pPr marL="0" indent="0">
              <a:defRPr sz="800"/>
            </a:lvl9pPr>
          </a:lstStyle>
          <a:p>
            <a:pPr>
              <a:defRPr/>
            </a:pPr>
            <a:endParaRPr lang="en-US" dirty="0"/>
          </a:p>
        </p:txBody>
      </p:sp>
      <p:sp>
        <p:nvSpPr>
          <p:cNvPr id="7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 eaLnBrk="0" hangingPunct="0">
              <a:defRPr/>
            </a:lvl1pPr>
          </a:lstStyle>
          <a:p>
            <a:pPr>
              <a:defRPr/>
            </a:pPr>
            <a:r>
              <a:rPr lang="en-US" altLang="ru-RU"/>
              <a:t>Page </a:t>
            </a:r>
            <a:fld id="{1B8D6FAF-77A1-4D77-8128-523FEBF0F772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222511537"/>
      </p:ext>
    </p:extLst>
  </p:cSld>
  <p:clrMapOvr>
    <a:masterClrMapping/>
  </p:clrMapOvr>
  <p:transition spd="med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5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719666" y="305999"/>
            <a:ext cx="11091375" cy="802800"/>
          </a:xfrm>
          <a:prstGeom prst="rect">
            <a:avLst/>
          </a:prstGeom>
        </p:spPr>
        <p:txBody>
          <a:bodyPr tIns="126000" anchor="t"/>
          <a:lstStyle>
            <a:lvl1pPr>
              <a:lnSpc>
                <a:spcPct val="75000"/>
              </a:lnSpc>
              <a:defRPr b="0">
                <a:solidFill>
                  <a:schemeClr val="accent4"/>
                </a:solidFill>
              </a:defRPr>
            </a:lvl1pPr>
          </a:lstStyle>
          <a:p>
            <a:endParaRPr lang="en-US" noProof="0" dirty="0"/>
          </a:p>
        </p:txBody>
      </p:sp>
      <p:sp>
        <p:nvSpPr>
          <p:cNvPr id="11" name="Textplatzhalter 9" descr="Subtitle"/>
          <p:cNvSpPr>
            <a:spLocks noGrp="1"/>
          </p:cNvSpPr>
          <p:nvPr>
            <p:ph type="body" sz="quarter" idx="10"/>
          </p:nvPr>
        </p:nvSpPr>
        <p:spPr>
          <a:xfrm>
            <a:off x="720000" y="738562"/>
            <a:ext cx="11081856" cy="367571"/>
          </a:xfrm>
        </p:spPr>
        <p:txBody>
          <a:bodyPr anchor="b">
            <a:noAutofit/>
          </a:bodyPr>
          <a:lstStyle>
            <a:lvl1pPr marL="0" indent="0">
              <a:lnSpc>
                <a:spcPct val="95000"/>
              </a:lnSpc>
              <a:buNone/>
              <a:defRPr sz="2000" b="0" i="1">
                <a:solidFill>
                  <a:schemeClr val="tx1"/>
                </a:solidFill>
              </a:defRPr>
            </a:lvl1pPr>
          </a:lstStyle>
          <a:p>
            <a:pPr lvl="0"/>
            <a:endParaRPr lang="en-US" noProof="0" dirty="0"/>
          </a:p>
        </p:txBody>
      </p:sp>
      <p:sp>
        <p:nvSpPr>
          <p:cNvPr id="10" name="Rectangle 4"/>
          <p:cNvSpPr>
            <a:spLocks noGrp="1" noChangeArrowheads="1"/>
          </p:cNvSpPr>
          <p:nvPr>
            <p:ph idx="1"/>
          </p:nvPr>
        </p:nvSpPr>
        <p:spPr bwMode="gray">
          <a:xfrm>
            <a:off x="671413" y="1343025"/>
            <a:ext cx="11089217" cy="4930775"/>
          </a:xfrm>
          <a:prstGeom prst="rect">
            <a:avLst/>
          </a:prstGeom>
          <a:noFill/>
          <a:ln>
            <a:noFill/>
          </a:ln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916517" y="6402390"/>
            <a:ext cx="8636000" cy="250825"/>
          </a:xfrm>
        </p:spPr>
        <p:txBody>
          <a:bodyPr/>
          <a:lstStyle>
            <a:lvl1pPr eaLnBrk="1" hangingPunct="1">
              <a:defRPr sz="900" baseline="0">
                <a:solidFill>
                  <a:srgbClr val="6685A3"/>
                </a:solidFill>
                <a:cs typeface="Arial" charset="0"/>
              </a:defRPr>
            </a:lvl1pPr>
          </a:lstStyle>
          <a:p>
            <a:pPr>
              <a:defRPr/>
            </a:pPr>
            <a:endParaRPr lang="en-US" dirty="0">
              <a:latin typeface="Arial Narrow"/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17552" y="6402388"/>
            <a:ext cx="533401" cy="247650"/>
          </a:xfrm>
        </p:spPr>
        <p:txBody>
          <a:bodyPr wrap="square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900">
                <a:solidFill>
                  <a:srgbClr val="6685A3"/>
                </a:solidFill>
              </a:defRPr>
            </a:lvl1pPr>
          </a:lstStyle>
          <a:p>
            <a:pPr algn="l">
              <a:defRPr/>
            </a:pPr>
            <a:fld id="{47BB88C0-D679-4653-AA5D-DCFE9BE6005C}" type="slidenum">
              <a:rPr lang="en-US" altLang="en-US" smtClean="0">
                <a:latin typeface="Arial Narrow"/>
              </a:rPr>
              <a:pPr algn="l">
                <a:defRPr/>
              </a:pPr>
              <a:t>‹#›</a:t>
            </a:fld>
            <a:endParaRPr lang="en-US" altLang="en-US">
              <a:latin typeface="Arial Narrow"/>
            </a:endParaRPr>
          </a:p>
        </p:txBody>
      </p:sp>
    </p:spTree>
    <p:extLst>
      <p:ext uri="{BB962C8B-B14F-4D97-AF65-F5344CB8AC3E}">
        <p14:creationId xmlns:p14="http://schemas.microsoft.com/office/powerpoint/2010/main" val="2439595466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(colo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8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350">
                <a:solidFill>
                  <a:schemeClr val="accent1"/>
                </a:solidFill>
              </a:defRPr>
            </a:lvl1pPr>
            <a:lvl2pPr marL="0" indent="0" algn="l">
              <a:buNone/>
              <a:defRPr sz="1350">
                <a:solidFill>
                  <a:schemeClr val="accent1"/>
                </a:solidFill>
              </a:defRPr>
            </a:lvl2pPr>
            <a:lvl3pPr marL="0" indent="0" algn="l">
              <a:buNone/>
              <a:defRPr sz="1350">
                <a:solidFill>
                  <a:schemeClr val="accent1"/>
                </a:solidFill>
              </a:defRPr>
            </a:lvl3pPr>
            <a:lvl4pPr marL="0" indent="0" algn="l">
              <a:buNone/>
              <a:defRPr sz="1350">
                <a:solidFill>
                  <a:schemeClr val="accent1"/>
                </a:solidFill>
              </a:defRPr>
            </a:lvl4pPr>
            <a:lvl5pPr marL="0" indent="0" algn="l">
              <a:buNone/>
              <a:defRPr sz="1350">
                <a:solidFill>
                  <a:schemeClr val="accent1"/>
                </a:solidFill>
              </a:defRPr>
            </a:lvl5pPr>
            <a:lvl6pPr marL="0" indent="0" algn="l">
              <a:buNone/>
              <a:defRPr sz="1350">
                <a:solidFill>
                  <a:schemeClr val="accent1"/>
                </a:solidFill>
              </a:defRPr>
            </a:lvl6pPr>
            <a:lvl7pPr marL="0" indent="0" algn="l">
              <a:buNone/>
              <a:defRPr sz="1350">
                <a:solidFill>
                  <a:schemeClr val="accent1"/>
                </a:solidFill>
              </a:defRPr>
            </a:lvl7pPr>
            <a:lvl8pPr marL="0" indent="0" algn="l">
              <a:buNone/>
              <a:defRPr sz="1350">
                <a:solidFill>
                  <a:schemeClr val="accent1"/>
                </a:solidFill>
              </a:defRPr>
            </a:lvl8pPr>
            <a:lvl9pPr marL="0" indent="0" algn="l">
              <a:buNone/>
              <a:defRPr sz="1350">
                <a:solidFill>
                  <a:schemeClr val="accent1"/>
                </a:solidFill>
              </a:defRPr>
            </a:lvl9pPr>
          </a:lstStyle>
          <a:p>
            <a:pPr lvl="0"/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981950" y="181938"/>
            <a:ext cx="10799865" cy="8640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9CF63EDE-CF69-46AA-877D-D005933E0FD7}" type="datetime1">
              <a:rPr lang="ru-RU" smtClean="0"/>
              <a:t>07.04.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0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Logoschutz" hidden="1"/>
          <p:cNvSpPr/>
          <p:nvPr userDrawn="1"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675" dirty="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675" dirty="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1105662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4086">
          <p15:clr>
            <a:srgbClr val="FBAE40"/>
          </p15:clr>
        </p15:guide>
        <p15:guide id="4" orient="horz" pos="1094">
          <p15:clr>
            <a:srgbClr val="FBAE40"/>
          </p15:clr>
        </p15:guide>
        <p15:guide id="5" pos="2150">
          <p15:clr>
            <a:srgbClr val="FBAE40"/>
          </p15:clr>
        </p15:guide>
        <p15:guide id="6" pos="2376">
          <p15:clr>
            <a:srgbClr val="FBAE40"/>
          </p15:clr>
        </p15:guide>
        <p15:guide id="7" pos="3908">
          <p15:clr>
            <a:srgbClr val="FBAE40"/>
          </p15:clr>
        </p15:guide>
        <p15:guide id="8" pos="4021">
          <p15:clr>
            <a:srgbClr val="FBAE40"/>
          </p15:clr>
        </p15:guide>
        <p15:guide id="9" pos="4134">
          <p15:clr>
            <a:srgbClr val="FBAE40"/>
          </p15:clr>
        </p15:guide>
        <p15:guide id="10" pos="5667">
          <p15:clr>
            <a:srgbClr val="FBAE40"/>
          </p15:clr>
        </p15:guide>
        <p15:guide id="11" pos="5894">
          <p15:clr>
            <a:srgbClr val="FBAE40"/>
          </p15:clr>
        </p15:guide>
        <p15:guide id="12" orient="horz" pos="2478">
          <p15:clr>
            <a:srgbClr val="FBAE40"/>
          </p15:clr>
        </p15:guide>
        <p15:guide id="13" orient="horz" pos="2704">
          <p15:clr>
            <a:srgbClr val="FBAE40"/>
          </p15:clr>
        </p15:guide>
        <p15:guide id="14" orient="horz" pos="2591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624417" y="346078"/>
            <a:ext cx="9410699" cy="9493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noProof="0" dirty="0"/>
              <a:t>Headline</a:t>
            </a:r>
          </a:p>
        </p:txBody>
      </p:sp>
      <p:sp>
        <p:nvSpPr>
          <p:cNvPr id="11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1161839" y="6424618"/>
            <a:ext cx="8001541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598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481544" y="6424618"/>
            <a:ext cx="642409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598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Page </a:t>
            </a:r>
            <a:fld id="{87F334AE-4EAC-4C2D-A638-92A76F09FCC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00939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(without Subheadlin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Gerader Verbinder 13"/>
          <p:cNvCxnSpPr/>
          <p:nvPr userDrawn="1"/>
        </p:nvCxnSpPr>
        <p:spPr bwMode="gray">
          <a:xfrm>
            <a:off x="0" y="6446044"/>
            <a:ext cx="12192000" cy="0"/>
          </a:xfrm>
          <a:prstGeom prst="line">
            <a:avLst/>
          </a:prstGeom>
          <a:ln w="31750">
            <a:gradFill>
              <a:gsLst>
                <a:gs pos="100000">
                  <a:schemeClr val="accent2"/>
                </a:gs>
                <a:gs pos="0">
                  <a:schemeClr val="accent1"/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Inhaltsplatzhalter 2"/>
          <p:cNvSpPr>
            <a:spLocks noGrp="1"/>
          </p:cNvSpPr>
          <p:nvPr>
            <p:ph idx="1"/>
          </p:nvPr>
        </p:nvSpPr>
        <p:spPr bwMode="gray">
          <a:xfrm>
            <a:off x="460094" y="1622715"/>
            <a:ext cx="11240068" cy="4533113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  <a:endParaRPr lang="en-US" noProof="0" dirty="0"/>
          </a:p>
        </p:txBody>
      </p:sp>
      <p:sp>
        <p:nvSpPr>
          <p:cNvPr id="9" name="Titelplatzhalter 1"/>
          <p:cNvSpPr>
            <a:spLocks noGrp="1"/>
          </p:cNvSpPr>
          <p:nvPr>
            <p:ph type="title"/>
          </p:nvPr>
        </p:nvSpPr>
        <p:spPr bwMode="gray">
          <a:xfrm>
            <a:off x="439127" y="445203"/>
            <a:ext cx="9798220" cy="856531"/>
          </a:xfrm>
          <a:prstGeom prst="rect">
            <a:avLst/>
          </a:prstGeom>
        </p:spPr>
        <p:txBody>
          <a:bodyPr lIns="0" tIns="0" rIns="0" bIns="0" rtlCol="0" anchor="b">
            <a:noAutofit/>
          </a:bodyPr>
          <a:lstStyle/>
          <a:p>
            <a:r>
              <a:rPr lang="ru-RU" noProof="0"/>
              <a:t>Образец заголовка</a:t>
            </a:r>
            <a:endParaRPr lang="en-US" noProof="0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 bwMode="gray">
          <a:xfrm>
            <a:off x="1255564" y="6424919"/>
            <a:ext cx="8081433" cy="433387"/>
          </a:xfrm>
        </p:spPr>
        <p:txBody>
          <a:bodyPr lIns="0" tIns="0" rIns="0" bIns="0"/>
          <a:lstStyle>
            <a:lvl1pPr algn="l">
              <a:defRPr sz="800">
                <a:solidFill>
                  <a:prstClr val="black"/>
                </a:solidFill>
              </a:defRPr>
            </a:lvl1pPr>
            <a:lvl2pPr marL="0" indent="0">
              <a:defRPr sz="800">
                <a:solidFill>
                  <a:schemeClr val="tx1"/>
                </a:solidFill>
              </a:defRPr>
            </a:lvl2pPr>
            <a:lvl3pPr marL="1586" indent="0">
              <a:defRPr sz="800">
                <a:solidFill>
                  <a:schemeClr val="tx1"/>
                </a:solidFill>
              </a:defRPr>
            </a:lvl3pPr>
            <a:lvl4pPr marL="3171" indent="0">
              <a:defRPr sz="800">
                <a:solidFill>
                  <a:schemeClr val="tx1"/>
                </a:solidFill>
              </a:defRPr>
            </a:lvl4pPr>
            <a:lvl5pPr marL="3171" indent="0">
              <a:defRPr sz="800">
                <a:solidFill>
                  <a:schemeClr val="tx1"/>
                </a:solidFill>
              </a:defRPr>
            </a:lvl5pPr>
            <a:lvl6pPr marL="0" indent="0">
              <a:defRPr sz="800">
                <a:solidFill>
                  <a:schemeClr val="tx1"/>
                </a:solidFill>
              </a:defRPr>
            </a:lvl6pPr>
            <a:lvl7pPr marL="0" indent="0" algn="l">
              <a:defRPr sz="800">
                <a:solidFill>
                  <a:schemeClr val="tx1"/>
                </a:solidFill>
              </a:defRPr>
            </a:lvl7pPr>
            <a:lvl8pPr marL="0" indent="0">
              <a:defRPr sz="800">
                <a:solidFill>
                  <a:schemeClr val="tx1"/>
                </a:solidFill>
              </a:defRPr>
            </a:lvl8pPr>
            <a:lvl9pPr marL="0" indent="0">
              <a:defRPr sz="800"/>
            </a:lvl9pPr>
          </a:lstStyle>
          <a:p>
            <a:pPr>
              <a:defRPr/>
            </a:pPr>
            <a:endParaRPr lang="en-US" dirty="0"/>
          </a:p>
        </p:txBody>
      </p:sp>
      <p:sp>
        <p:nvSpPr>
          <p:cNvPr id="6" name="Foliennummernplatzhalter 3"/>
          <p:cNvSpPr>
            <a:spLocks noGrp="1"/>
          </p:cNvSpPr>
          <p:nvPr>
            <p:ph type="sldNum" sz="quarter" idx="11"/>
          </p:nvPr>
        </p:nvSpPr>
        <p:spPr bwMode="gray">
          <a:xfrm>
            <a:off x="474133" y="6424919"/>
            <a:ext cx="762000" cy="433387"/>
          </a:xfrm>
        </p:spPr>
        <p:txBody>
          <a:bodyPr lIns="0" tIns="0" rIns="0" bIns="0"/>
          <a:lstStyle>
            <a:lvl1pPr algn="l">
              <a:defRPr sz="800">
                <a:solidFill>
                  <a:srgbClr val="000000"/>
                </a:solidFill>
              </a:defRPr>
            </a:lvl1pPr>
          </a:lstStyle>
          <a:p>
            <a:r>
              <a:rPr lang="en-US" altLang="de-DE"/>
              <a:t>Page </a:t>
            </a:r>
            <a:fld id="{54132F35-AC1A-47C5-823D-C3351A0F063E}" type="slidenum">
              <a:rPr lang="en-US" altLang="de-DE"/>
              <a:pPr/>
              <a:t>‹#›</a:t>
            </a:fld>
            <a:endParaRPr lang="en-US" altLang="de-DE"/>
          </a:p>
        </p:txBody>
      </p:sp>
    </p:spTree>
    <p:extLst>
      <p:ext uri="{BB962C8B-B14F-4D97-AF65-F5344CB8AC3E}">
        <p14:creationId xmlns:p14="http://schemas.microsoft.com/office/powerpoint/2010/main" val="2623303707"/>
      </p:ext>
    </p:extLst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2512183-A51E-C6B3-111F-5BA0C4501E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82090402-357D-0BBC-4B85-4DCE22AF77F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8C1811E1-84F7-9B5E-0F77-9A8329D30A4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927F2918-A361-842D-5405-345915183E6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9E98547E-7550-F99C-E207-F8560846550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A4C0AF89-6C47-A4AE-55D0-785615E7E0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E1EB70-A272-41E2-985B-D89031590271}" type="datetimeFigureOut">
              <a:rPr lang="ru-RU" smtClean="0"/>
              <a:t>07.04.2023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ADF8DC61-056C-5ADF-C73A-89AF7AB67C5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228E450F-E6EB-5BF5-ACED-747DCB4AE6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843B38-CCC0-40FB-A9EB-82A74222CE2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6751893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52" y="1138299"/>
            <a:ext cx="10799865" cy="252000"/>
          </a:xfrm>
        </p:spPr>
        <p:txBody>
          <a:bodyPr anchor="t"/>
          <a:lstStyle>
            <a:lvl1pPr marL="0" indent="0" algn="l">
              <a:buNone/>
              <a:defRPr sz="1400">
                <a:solidFill>
                  <a:schemeClr val="accent1"/>
                </a:solidFill>
              </a:defRPr>
            </a:lvl1pPr>
            <a:lvl2pPr marL="0" indent="0" algn="l">
              <a:buNone/>
              <a:defRPr sz="1400">
                <a:solidFill>
                  <a:schemeClr val="accent1"/>
                </a:solidFill>
              </a:defRPr>
            </a:lvl2pPr>
            <a:lvl3pPr marL="0" indent="0" algn="l">
              <a:buNone/>
              <a:defRPr sz="1400">
                <a:solidFill>
                  <a:schemeClr val="accent1"/>
                </a:solidFill>
              </a:defRPr>
            </a:lvl3pPr>
            <a:lvl4pPr marL="0" indent="0" algn="l">
              <a:buNone/>
              <a:defRPr sz="1400">
                <a:solidFill>
                  <a:schemeClr val="accent1"/>
                </a:solidFill>
              </a:defRPr>
            </a:lvl4pPr>
            <a:lvl5pPr marL="0" indent="0" algn="l">
              <a:buNone/>
              <a:defRPr sz="1400">
                <a:solidFill>
                  <a:schemeClr val="accent1"/>
                </a:solidFill>
              </a:defRPr>
            </a:lvl5pPr>
            <a:lvl6pPr marL="0" indent="0" algn="l">
              <a:buNone/>
              <a:defRPr sz="1400">
                <a:solidFill>
                  <a:schemeClr val="accent1"/>
                </a:solidFill>
              </a:defRPr>
            </a:lvl6pPr>
            <a:lvl7pPr marL="0" indent="0" algn="l">
              <a:buNone/>
              <a:defRPr sz="1400">
                <a:solidFill>
                  <a:schemeClr val="accent1"/>
                </a:solidFill>
              </a:defRPr>
            </a:lvl7pPr>
            <a:lvl8pPr marL="0" indent="0" algn="l">
              <a:buNone/>
              <a:defRPr sz="1400">
                <a:solidFill>
                  <a:schemeClr val="accent1"/>
                </a:solidFill>
              </a:defRPr>
            </a:lvl8pPr>
            <a:lvl9pPr marL="0" indent="0" algn="l">
              <a:buNone/>
              <a:defRPr sz="14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fld id="{C8DC7BA3-DA1B-4750-A292-E5AC202C44D3}" type="datetime1">
              <a:rPr lang="ru-RU" smtClean="0"/>
              <a:t>07.04.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endParaRPr lang="en-US" dirty="0">
              <a:solidFill>
                <a:srgbClr val="10384F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>
                <a:solidFill>
                  <a:srgbClr val="00BCFF"/>
                </a:solidFill>
              </a:rPr>
              <a:pPr/>
              <a:t>‹#›</a:t>
            </a:fld>
            <a:endParaRPr lang="en-US" dirty="0">
              <a:solidFill>
                <a:srgbClr val="00BCFF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 bwMode="gray">
          <a:xfrm>
            <a:off x="980410" y="1732751"/>
            <a:ext cx="10801405" cy="47520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9" name="Picture 2" descr="\\nas-mainz\Projekte_vertraulich\Bayer\17-0612_Fischer_CI-Redesign\vom Kunden\Bayer_Cross_2017_on-Screen_RGB_170630.wmf"/>
          <p:cNvPicPr>
            <a:picLocks noChangeAspect="1"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96046" y="617155"/>
            <a:ext cx="399825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3180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1AB94C-1AC3-4D22-85BA-52B5B1D00AB5}" type="datetimeFigureOut">
              <a:rPr lang="ru-RU" smtClean="0"/>
              <a:t>07.04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9E167B-2644-42EF-9F7C-F4E83F6B829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6178810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1AB94C-1AC3-4D22-85BA-52B5B1D00AB5}" type="datetimeFigureOut">
              <a:rPr lang="ru-RU" smtClean="0"/>
              <a:t>07.04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9E167B-2644-42EF-9F7C-F4E83F6B829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891820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1AB94C-1AC3-4D22-85BA-52B5B1D00AB5}" type="datetimeFigureOut">
              <a:rPr lang="ru-RU" smtClean="0"/>
              <a:t>07.04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9E167B-2644-42EF-9F7C-F4E83F6B829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9413514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1AB94C-1AC3-4D22-85BA-52B5B1D00AB5}" type="datetimeFigureOut">
              <a:rPr lang="ru-RU" smtClean="0"/>
              <a:t>07.04.2023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9E167B-2644-42EF-9F7C-F4E83F6B829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2250367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1AB94C-1AC3-4D22-85BA-52B5B1D00AB5}" type="datetimeFigureOut">
              <a:rPr lang="ru-RU" smtClean="0"/>
              <a:t>07.04.2023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9E167B-2644-42EF-9F7C-F4E83F6B829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3158620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1AB94C-1AC3-4D22-85BA-52B5B1D00AB5}" type="datetimeFigureOut">
              <a:rPr lang="ru-RU" smtClean="0"/>
              <a:t>07.04.2023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9E167B-2644-42EF-9F7C-F4E83F6B829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2300273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1AB94C-1AC3-4D22-85BA-52B5B1D00AB5}" type="datetimeFigureOut">
              <a:rPr lang="ru-RU" smtClean="0"/>
              <a:t>07.04.2023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9E167B-2644-42EF-9F7C-F4E83F6B829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9627198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1AB94C-1AC3-4D22-85BA-52B5B1D00AB5}" type="datetimeFigureOut">
              <a:rPr lang="ru-RU" smtClean="0"/>
              <a:t>07.04.2023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9E167B-2644-42EF-9F7C-F4E83F6B829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0749173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1AB94C-1AC3-4D22-85BA-52B5B1D00AB5}" type="datetimeFigureOut">
              <a:rPr lang="ru-RU" smtClean="0"/>
              <a:t>07.04.2023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9E167B-2644-42EF-9F7C-F4E83F6B829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5368149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A34B8F0-8865-7BD1-5987-F0C0A7D380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96EAD595-EF64-27E6-D6C3-88A7942E75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E1EB70-A272-41E2-985B-D89031590271}" type="datetimeFigureOut">
              <a:rPr lang="ru-RU" smtClean="0"/>
              <a:t>07.04.2023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E339F48E-B6F1-945E-34B2-A408D494F7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8D311947-2D01-3D92-5A0C-2630CCD2EF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843B38-CCC0-40FB-A9EB-82A74222CE2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3705532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1AB94C-1AC3-4D22-85BA-52B5B1D00AB5}" type="datetimeFigureOut">
              <a:rPr lang="ru-RU" smtClean="0"/>
              <a:t>07.04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9E167B-2644-42EF-9F7C-F4E83F6B829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7949844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1AB94C-1AC3-4D22-85BA-52B5B1D00AB5}" type="datetimeFigureOut">
              <a:rPr lang="ru-RU" smtClean="0"/>
              <a:t>07.04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9E167B-2644-42EF-9F7C-F4E83F6B829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486789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1A911F1A-D9D6-33E7-4E85-979AE3488F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E1EB70-A272-41E2-985B-D89031590271}" type="datetimeFigureOut">
              <a:rPr lang="ru-RU" smtClean="0"/>
              <a:t>07.04.2023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0A94D2E9-8F28-C5E7-96AD-EBD85A9419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3E7350CA-DE75-5067-CD03-22EF2412A1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843B38-CCC0-40FB-A9EB-82A74222CE2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270039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E3A7BC7-F84F-F7BB-352E-0CBF664447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9FACFAB9-5311-5BC0-266A-82716A781A4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5C40E6D7-3A90-9230-D735-6236BF75836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BA14D325-3A98-3960-C073-8B81E161FB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E1EB70-A272-41E2-985B-D89031590271}" type="datetimeFigureOut">
              <a:rPr lang="ru-RU" smtClean="0"/>
              <a:t>07.04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D027DCF0-408E-9DD4-8DFF-A65F187AC6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79ED7EF3-1EB2-91D1-5BD7-D6372A1CF4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843B38-CCC0-40FB-A9EB-82A74222CE2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356867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2915E12-C730-CE3F-1901-898E7A459A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FC2635C7-CDEA-D32B-DC25-5AE0697BBDB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1496B64A-622B-D064-A7F1-9F0A5693521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78815780-6B58-E185-92E0-B2CF6870CDC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E1EB70-A272-41E2-985B-D89031590271}" type="datetimeFigureOut">
              <a:rPr lang="ru-RU" smtClean="0"/>
              <a:t>07.04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CC1537FC-05C0-22F6-B587-2D7DC72ED8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8ECE9A1F-00C4-EEBF-AE23-F00079FF94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843B38-CCC0-40FB-A9EB-82A74222CE2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204080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slideLayout" Target="../slideLayouts/slideLayout50.xml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6CF6B68-ED51-A54B-83D3-F4165D902D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E6147AB2-8EDB-4F82-6038-F05EE22CE3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F1478810-98C5-7C2D-4C8B-43269C05D12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9E1EB70-A272-41E2-985B-D89031590271}" type="datetimeFigureOut">
              <a:rPr lang="ru-RU" smtClean="0"/>
              <a:t>07.04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9BE944F1-ADBA-74E0-8231-2A53663CE8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7A3B90A-69C6-7FE2-07D2-C51C21ADBD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5843B38-CCC0-40FB-A9EB-82A74222CE28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311492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71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C71EC6-210F-42DE-9C53-41977AD35B3D}" type="datetimeFigureOut">
              <a:rPr lang="ru-RU" smtClean="0"/>
              <a:t>07.04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  <p:sp>
        <p:nvSpPr>
          <p:cNvPr id="8" name="MSIPCMContentMarking" descr="{&quot;HashCode&quot;:-242339457,&quot;Placement&quot;:&quot;Footer&quot;,&quot;Top&quot;:503.1945,&quot;Left&quot;:812.5106,&quot;SlideWidth&quot;:960,&quot;SlideHeight&quot;:540}">
            <a:extLst>
              <a:ext uri="{FF2B5EF4-FFF2-40B4-BE49-F238E27FC236}">
                <a16:creationId xmlns:a16="http://schemas.microsoft.com/office/drawing/2014/main" id="{0A17DED3-BF93-44CE-8C5A-38F42DE9DA3A}"/>
              </a:ext>
            </a:extLst>
          </p:cNvPr>
          <p:cNvSpPr txBox="1"/>
          <p:nvPr userDrawn="1"/>
        </p:nvSpPr>
        <p:spPr>
          <a:xfrm>
            <a:off x="10318885" y="6390570"/>
            <a:ext cx="1873115" cy="46742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200">
                <a:solidFill>
                  <a:srgbClr val="FF8939"/>
                </a:solidFill>
                <a:latin typeface="Calibri" panose="020F0502020204030204" pitchFamily="34" charset="0"/>
              </a:rPr>
              <a:t>RESTRICTED</a:t>
            </a:r>
            <a:endParaRPr lang="ru-RU" sz="2200">
              <a:solidFill>
                <a:srgbClr val="FF8939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29089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9" r:id="rId18"/>
    <p:sldLayoutId id="2147483680" r:id="rId19"/>
    <p:sldLayoutId id="2147483681" r:id="rId20"/>
    <p:sldLayoutId id="2147483682" r:id="rId2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67E2DF-0E7A-4DB1-91BF-8B5E7F5927B9}" type="datetime1">
              <a:rPr lang="ru-RU" smtClean="0"/>
              <a:t>07.04.2023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  <p:sp>
        <p:nvSpPr>
          <p:cNvPr id="8" name="MSIPCMContentMarking" descr="{&quot;HashCode&quot;:-242339457,&quot;Placement&quot;:&quot;Footer&quot;,&quot;Top&quot;:503.1945,&quot;Left&quot;:812.5106,&quot;SlideWidth&quot;:960,&quot;SlideHeight&quot;:540}">
            <a:extLst>
              <a:ext uri="{FF2B5EF4-FFF2-40B4-BE49-F238E27FC236}">
                <a16:creationId xmlns:a16="http://schemas.microsoft.com/office/drawing/2014/main" id="{636A4518-9237-4541-BA5E-2A39F66A8479}"/>
              </a:ext>
            </a:extLst>
          </p:cNvPr>
          <p:cNvSpPr txBox="1"/>
          <p:nvPr userDrawn="1"/>
        </p:nvSpPr>
        <p:spPr>
          <a:xfrm>
            <a:off x="10318885" y="6390570"/>
            <a:ext cx="1873115" cy="467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C9E7E4"/>
                </a:solidFill>
              </a14:hiddenFill>
            </a:ext>
          </a:extLst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200" b="1">
                <a:solidFill>
                  <a:srgbClr val="FF8939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RESTRICTED</a:t>
            </a:r>
            <a:endParaRPr lang="ru-RU" sz="2200" b="1" dirty="0">
              <a:solidFill>
                <a:srgbClr val="FF8939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25284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  <p:sldLayoutId id="2147483696" r:id="rId13"/>
    <p:sldLayoutId id="2147483697" r:id="rId14"/>
    <p:sldLayoutId id="2147483698" r:id="rId15"/>
    <p:sldLayoutId id="2147483699" r:id="rId16"/>
    <p:sldLayoutId id="2147483700" r:id="rId17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C71EC6-210F-42DE-9C53-41977AD35B3D}" type="datetimeFigureOut">
              <a:rPr lang="ru-RU" smtClean="0"/>
              <a:t>07.04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  <p:sp>
        <p:nvSpPr>
          <p:cNvPr id="8" name="MSIPCMContentMarking" descr="{&quot;HashCode&quot;:-242339457,&quot;Placement&quot;:&quot;Footer&quot;,&quot;Top&quot;:503.1945,&quot;Left&quot;:812.5106,&quot;SlideWidth&quot;:960,&quot;SlideHeight&quot;:540}">
            <a:extLst>
              <a:ext uri="{FF2B5EF4-FFF2-40B4-BE49-F238E27FC236}">
                <a16:creationId xmlns:a16="http://schemas.microsoft.com/office/drawing/2014/main" id="{DB4A0464-C235-4011-8351-57E732B477BB}"/>
              </a:ext>
            </a:extLst>
          </p:cNvPr>
          <p:cNvSpPr txBox="1"/>
          <p:nvPr userDrawn="1"/>
        </p:nvSpPr>
        <p:spPr>
          <a:xfrm>
            <a:off x="10318885" y="6390570"/>
            <a:ext cx="1873115" cy="467429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2200">
                <a:solidFill>
                  <a:srgbClr val="FF8939"/>
                </a:solidFill>
                <a:latin typeface="Calibri" panose="020F0502020204030204" pitchFamily="34" charset="0"/>
              </a:rPr>
              <a:t>RESTRICTED</a:t>
            </a:r>
            <a:endParaRPr lang="ru-RU" sz="2200">
              <a:solidFill>
                <a:srgbClr val="FF8939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40346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sdmanuals.com/ru/%D0%BF%D1%80%D0%BE%D1%84%D0%B5%D1%81%D1%81%D0%B8%D0%BE%D0%BD%D0%B0%D0%BB%D1%8C%D0%BD%D1%8B%D0%B9/%D0%BD%D0%B5%D0%B2%D1%80%D0%BE%D0%BB%D0%BE%D0%B3%D0%B8%D1%87%D0%B5%D1%81%D0%BA%D0%B8%D0%B5-%D1%80%D0%B0%D1%81%D1%81%D1%82%D1%80%D0%BE%D0%B9%D1%81%D1%82%D0%B2%D0%B0/%D0%BD%D0%B5%D0%B2%D1%80%D0%BE%D0%BB%D0%BE%D0%B3%D0%B8%D1%87%D0%B5%D1%81%D0%BA%D0%B8%D0%B9-%D0%BE%D1%81%D0%BC%D0%BE%D1%82%D1%80/%D0%BD%D0%B5%D0%B2%D1%80%D0%BE%D0%BB%D0%BE%D0%B3%D0%B8%D1%87%D0%B5%D1%81%D0%BA%D0%B8%D0%B9-%D0%BE%D1%81%D0%BC%D0%BE%D1%82%D1%80-%D0%B2%D0%B2%D0%B5%D0%B4%D0%B5%D0%BD%D0%B8%D0%B5" TargetMode="External"/><Relationship Id="rId2" Type="http://schemas.openxmlformats.org/officeDocument/2006/relationships/hyperlink" Target="https://www.msdmanuals.com/ru/%D0%BF%D1%80%D0%BE%D1%84%D0%B5%D1%81%D1%81%D0%B8%D0%BE%D0%BD%D0%B0%D0%BB%D1%8C%D0%BD%D1%8B%D0%B9/%D1%81%D0%BF%D0%B5%D1%86%D0%B8%D0%B0%D0%BB%D1%8C%D0%BD%D1%8B%D0%B5-%D1%82%D0%B5%D0%BC%D1%8B/%D1%80%D0%B5%D0%BA%D1%80%D0%B5%D0%B0%D1%86%D0%B8%D0%BE%D0%BD%D0%BD%D1%8B%D0%B5-%D0%BD%D0%B0%D1%80%D0%BA%D0%BE%D1%82%D0%B8%D0%BA%D0%B8-%D0%B8-%D0%BE%D0%B4%D1%83%D1%80%D0%BC%D0%B0%D0%BD%D0%B8%D0%B2%D0%B0%D1%8E%D1%89%D0%B8%D0%B5-%D0%B2%D0%B5%D1%89%D0%B5%D1%81%D1%82%D0%B2%D0%B0/%D0%B0%D0%BB%D0%BA%D0%BE%D0%B3%D0%BE%D0%BB%D0%B8%D0%B7%D0%BC-%D0%B8-%D1%80%D0%B5%D0%B0%D0%B1%D0%B8%D0%BB%D0%B8%D1%82%D0%B0%D1%86%D0%B8%D1%8F" TargetMode="Externa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image" Target="../media/image5.emf"/><Relationship Id="rId18" Type="http://schemas.microsoft.com/office/2007/relationships/diagramDrawing" Target="../diagrams/drawing1.xml"/><Relationship Id="rId3" Type="http://schemas.openxmlformats.org/officeDocument/2006/relationships/tags" Target="../tags/tag6.xml"/><Relationship Id="rId21" Type="http://schemas.openxmlformats.org/officeDocument/2006/relationships/image" Target="../media/image6.png"/><Relationship Id="rId7" Type="http://schemas.openxmlformats.org/officeDocument/2006/relationships/tags" Target="../tags/tag10.xml"/><Relationship Id="rId12" Type="http://schemas.openxmlformats.org/officeDocument/2006/relationships/oleObject" Target="../embeddings/oleObject3.bin"/><Relationship Id="rId17" Type="http://schemas.openxmlformats.org/officeDocument/2006/relationships/diagramColors" Target="../diagrams/colors1.xml"/><Relationship Id="rId2" Type="http://schemas.openxmlformats.org/officeDocument/2006/relationships/tags" Target="../tags/tag5.xml"/><Relationship Id="rId16" Type="http://schemas.openxmlformats.org/officeDocument/2006/relationships/diagramQuickStyle" Target="../diagrams/quickStyle1.xml"/><Relationship Id="rId20" Type="http://schemas.openxmlformats.org/officeDocument/2006/relationships/chart" Target="../charts/chart2.xml"/><Relationship Id="rId1" Type="http://schemas.openxmlformats.org/officeDocument/2006/relationships/vmlDrawing" Target="../drawings/vmlDrawing3.vml"/><Relationship Id="rId6" Type="http://schemas.openxmlformats.org/officeDocument/2006/relationships/tags" Target="../tags/tag9.xml"/><Relationship Id="rId11" Type="http://schemas.openxmlformats.org/officeDocument/2006/relationships/notesSlide" Target="../notesSlides/notesSlide1.xml"/><Relationship Id="rId5" Type="http://schemas.openxmlformats.org/officeDocument/2006/relationships/tags" Target="../tags/tag8.xml"/><Relationship Id="rId15" Type="http://schemas.openxmlformats.org/officeDocument/2006/relationships/diagramLayout" Target="../diagrams/layout1.xml"/><Relationship Id="rId10" Type="http://schemas.openxmlformats.org/officeDocument/2006/relationships/slideLayout" Target="../slideLayouts/slideLayout7.xml"/><Relationship Id="rId19" Type="http://schemas.openxmlformats.org/officeDocument/2006/relationships/chart" Target="../charts/chart1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diagramData" Target="../diagrams/data1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8.png"/><Relationship Id="rId2" Type="http://schemas.openxmlformats.org/officeDocument/2006/relationships/tags" Target="../tags/tag1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10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tif"/><Relationship Id="rId3" Type="http://schemas.openxmlformats.org/officeDocument/2006/relationships/slideLayout" Target="../slideLayouts/slideLayout40.xml"/><Relationship Id="rId7" Type="http://schemas.openxmlformats.org/officeDocument/2006/relationships/image" Target="../media/image11.png"/><Relationship Id="rId2" Type="http://schemas.openxmlformats.org/officeDocument/2006/relationships/tags" Target="../tags/tag14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5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Layout" Target="../slideLayouts/slideLayout40.xml"/><Relationship Id="rId7" Type="http://schemas.openxmlformats.org/officeDocument/2006/relationships/image" Target="../media/image7.png"/><Relationship Id="rId2" Type="http://schemas.openxmlformats.org/officeDocument/2006/relationships/tags" Target="../tags/tag15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3.jpg"/><Relationship Id="rId5" Type="http://schemas.openxmlformats.org/officeDocument/2006/relationships/image" Target="../media/image5.emf"/><Relationship Id="rId4" Type="http://schemas.openxmlformats.org/officeDocument/2006/relationships/oleObject" Target="../embeddings/oleObject6.bin"/><Relationship Id="rId9" Type="http://schemas.openxmlformats.org/officeDocument/2006/relationships/image" Target="../media/image15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microsoft.com/office/2007/relationships/diagramDrawing" Target="../diagrams/drawing2.xml"/><Relationship Id="rId3" Type="http://schemas.openxmlformats.org/officeDocument/2006/relationships/slideLayout" Target="../slideLayouts/slideLayout40.xml"/><Relationship Id="rId7" Type="http://schemas.openxmlformats.org/officeDocument/2006/relationships/image" Target="../media/image7.png"/><Relationship Id="rId12" Type="http://schemas.openxmlformats.org/officeDocument/2006/relationships/diagramColors" Target="../diagrams/colors2.xml"/><Relationship Id="rId2" Type="http://schemas.openxmlformats.org/officeDocument/2006/relationships/tags" Target="../tags/tag16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6.emf"/><Relationship Id="rId11" Type="http://schemas.openxmlformats.org/officeDocument/2006/relationships/diagramQuickStyle" Target="../diagrams/quickStyle2.xml"/><Relationship Id="rId5" Type="http://schemas.openxmlformats.org/officeDocument/2006/relationships/oleObject" Target="../embeddings/oleObject7.bin"/><Relationship Id="rId10" Type="http://schemas.openxmlformats.org/officeDocument/2006/relationships/diagramLayout" Target="../diagrams/layout2.xml"/><Relationship Id="rId4" Type="http://schemas.openxmlformats.org/officeDocument/2006/relationships/image" Target="../media/image17.png"/><Relationship Id="rId9" Type="http://schemas.openxmlformats.org/officeDocument/2006/relationships/diagramData" Target="../diagrams/data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sdmanuals.com/ru/%D0%BF%D1%80%D0%BE%D1%84%D0%B5%D1%81%D1%81%D0%B8%D0%BE%D0%BD%D0%B0%D0%BB%D1%8C%D0%BD%D1%8B%D0%B9/%D1%8D%D0%BD%D0%B4%D0%BE%D0%BA%D1%80%D0%B8%D0%BD%D0%BD%D1%8B%D0%B5-%D0%B8-%D0%BC%D0%B5%D1%82%D0%B0%D0%B1%D0%BE%D0%BB%D0%B8%D1%87%D0%B5%D1%81%D0%BA%D0%B8%D0%B5-%D0%BD%D0%B0%D1%80%D1%83%D1%88%D0%B5%D0%BD%D0%B8%D1%8F/%D0%B7%D0%B0%D0%B1%D0%BE%D0%BB%D0%B5%D0%B2%D0%B0%D0%BD%D0%B8%D1%8F-%D1%89%D0%B8%D1%82%D0%BE%D0%B2%D0%B8%D0%B4%D0%BD%D0%BE%D0%B9-%D0%B6%D0%B5%D0%BB%D0%B5%D0%B7%D1%8B/%D0%B3%D0%B8%D0%BF%D0%BE%D1%82%D0%B8%D1%80%D0%B5%D0%BE%D0%B7" TargetMode="External"/><Relationship Id="rId2" Type="http://schemas.openxmlformats.org/officeDocument/2006/relationships/hyperlink" Target="https://www.msdmanuals.com/ru/%D0%BF%D1%80%D0%BE%D1%84%D0%B5%D1%81%D1%81%D0%B8%D0%BE%D0%BD%D0%B0%D0%BB%D1%8C%D0%BD%D1%8B%D0%B9/%D0%B3%D0%B8%D0%BD%D0%B5%D0%BA%D0%BE%D0%BB%D0%BE%D0%B3%D0%B8%D1%8F-%D0%B8-%D0%B0%D0%BA%D1%83%D1%88%D0%B5%D1%80%D1%81%D1%82%D0%B2%D0%BE/%D0%BD%D0%B0%D1%80%D1%83%D1%88%D0%B5%D0%BD%D0%B8%D1%8F-%D0%BC%D0%B5%D0%BD%D1%81%D1%82%D1%80%D1%83%D0%B0%D0%BB%D1%8C%D0%BD%D0%BE%D0%B3%D0%BE-%D1%86%D0%B8%D0%BA%D0%BB%D0%B0/%D0%B0%D0%BC%D0%B5%D0%BD%D0%BE%D1%80%D0%B5%D1%8F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www.msdmanuals.com/ru/%D0%BF%D1%80%D0%BE%D1%84%D0%B5%D1%81%D1%81%D0%B8%D0%BE%D0%BD%D0%B0%D0%BB%D1%8C%D0%BD%D1%8B%D0%B9/%D0%BD%D0%B5%D0%B2%D1%80%D0%BE%D0%BB%D0%BE%D0%B3%D0%B8%D1%87%D0%B5%D1%81%D0%BA%D0%B8%D0%B5-%D1%80%D0%B0%D1%81%D1%81%D1%82%D1%80%D0%BE%D0%B9%D1%81%D1%82%D0%B2%D0%B0/%D0%B7%D0%B0%D0%B1%D0%BE%D0%BB%D0%B5%D0%B2%D0%B0%D0%BD%D0%B8%D1%8F-%D0%BF%D0%B5%D1%80%D0%B8%D1%84%D0%B5%D1%80%D0%B8%D1%87%D0%B5%D1%81%D0%BA%D0%BE%D0%B9-%D0%BD%D0%B5%D1%80%D0%B2%D0%BD%D0%BE%D0%B9-%D1%81%D0%B8%D1%81%D1%82%D0%B5%D0%BC%D1%8B-%D0%B8-%D0%BC%D0%BE%D1%82%D0%BE%D0%BD%D0%B5%D0%B9%D1%80%D0%BE%D0%BD%D0%B0/%D0%BF%D0%BE%D1%80%D0%B0%D0%B6%D0%B5%D0%BD%D0%B8%D1%8F-%D0%BD%D0%B5%D1%80%D0%B2%D0%BD%D1%8B%D1%85-%D0%BA%D0%BE%D1%80%D0%B5%D1%88%D0%BA%D0%BE%D0%B2" TargetMode="External"/><Relationship Id="rId5" Type="http://schemas.openxmlformats.org/officeDocument/2006/relationships/hyperlink" Target="https://www.msdmanuals.com/ru/%D0%BF%D1%80%D0%BE%D1%84%D0%B5%D1%81%D1%81%D0%B8%D0%BE%D0%BD%D0%B0%D0%BB%D1%8C%D0%BD%D1%8B%D0%B9/%D0%BD%D0%B5%D0%B2%D1%80%D0%BE%D0%BB%D0%BE%D0%B3%D0%B8%D1%87%D0%B5%D1%81%D0%BA%D0%B8%D0%B5-%D1%80%D0%B0%D1%81%D1%81%D1%82%D1%80%D0%BE%D0%B9%D1%81%D1%82%D0%B2%D0%B0/%D0%B7%D0%B0%D0%B1%D0%BE%D0%BB%D0%B5%D0%B2%D0%B0%D0%BD%D0%B8%D1%8F-%D0%BF%D0%B5%D1%80%D0%B8%D1%84%D0%B5%D1%80%D0%B8%D1%87%D0%B5%D1%81%D0%BA%D0%BE%D0%B9-%D0%BD%D0%B5%D1%80%D0%B2%D0%BD%D0%BE%D0%B9-%D1%81%D0%B8%D1%81%D1%82%D0%B5%D0%BC%D1%8B-%D0%B8-%D0%BC%D0%BE%D1%82%D0%BE%D0%BD%D0%B5%D0%B9%D1%80%D0%BE%D0%BD%D0%B0/%D0%BF%D0%B5%D1%80%D0%B8%D1%84%D0%B5%D1%80%D0%B8%D1%87%D0%B5%D1%81%D0%BA%D0%B0%D1%8F-%D0%BD%D0%B5%D0%B9%D1%80%D0%BE%D0%BF%D0%B0%D1%82%D0%B8%D1%8F" TargetMode="External"/><Relationship Id="rId4" Type="http://schemas.openxmlformats.org/officeDocument/2006/relationships/hyperlink" Target="https://www.msdmanuals.com/ru/%D0%BF%D1%80%D0%BE%D1%84%D0%B5%D1%81%D1%81%D0%B8%D0%BE%D0%BD%D0%B0%D0%BB%D1%8C%D0%BD%D1%8B%D0%B9/%D0%BD%D0%B5%D0%B2%D1%80%D0%BE%D0%BB%D0%BE%D0%B3%D0%B8%D1%87%D0%B5%D1%81%D0%BA%D0%B8%D0%B5-%D1%80%D0%B0%D1%81%D1%81%D1%82%D1%80%D0%BE%D0%B9%D1%81%D1%82%D0%B2%D0%B0/%D1%81%D0%B8%D0%BC%D0%BF%D1%82%D0%BE%D0%BC%D1%8B-%D0%BD%D0%B5%D0%B2%D1%80%D0%BE%D0%BB%D0%BE%D0%B3%D0%B8%D1%87%D0%B5%D1%81%D0%BA%D0%B8%D1%85-%D1%80%D0%B0%D1%81%D1%81%D1%82%D1%80%D0%BE%D0%B9%D1%81%D1%82%D0%B2/%D1%81%D0%BB%D0%B0%D0%B1%D0%BE%D1%81%D1%82%D1%8C" TargetMode="Externa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7.xml"/><Relationship Id="rId4" Type="http://schemas.openxmlformats.org/officeDocument/2006/relationships/image" Target="../media/image21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image" Target="../media/image22.png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image" Target="../media/image5.emf"/><Relationship Id="rId2" Type="http://schemas.openxmlformats.org/officeDocument/2006/relationships/tags" Target="../tags/tag17.xml"/><Relationship Id="rId16" Type="http://schemas.openxmlformats.org/officeDocument/2006/relationships/image" Target="../media/image24.png"/><Relationship Id="rId1" Type="http://schemas.openxmlformats.org/officeDocument/2006/relationships/vmlDrawing" Target="../drawings/vmlDrawing8.vml"/><Relationship Id="rId6" Type="http://schemas.openxmlformats.org/officeDocument/2006/relationships/tags" Target="../tags/tag21.xml"/><Relationship Id="rId11" Type="http://schemas.openxmlformats.org/officeDocument/2006/relationships/oleObject" Target="../embeddings/oleObject8.bin"/><Relationship Id="rId5" Type="http://schemas.openxmlformats.org/officeDocument/2006/relationships/tags" Target="../tags/tag20.xml"/><Relationship Id="rId15" Type="http://schemas.microsoft.com/office/2007/relationships/hdphoto" Target="../media/hdphoto1.wdp"/><Relationship Id="rId10" Type="http://schemas.openxmlformats.org/officeDocument/2006/relationships/slideLayout" Target="../slideLayouts/slideLayout7.xml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4" Type="http://schemas.openxmlformats.org/officeDocument/2006/relationships/image" Target="../media/image23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tags" Target="../tags/tag36.xml"/><Relationship Id="rId18" Type="http://schemas.openxmlformats.org/officeDocument/2006/relationships/image" Target="../media/image17.png"/><Relationship Id="rId3" Type="http://schemas.openxmlformats.org/officeDocument/2006/relationships/tags" Target="../tags/tag26.xml"/><Relationship Id="rId21" Type="http://schemas.openxmlformats.org/officeDocument/2006/relationships/chart" Target="../charts/chart3.xml"/><Relationship Id="rId7" Type="http://schemas.openxmlformats.org/officeDocument/2006/relationships/tags" Target="../tags/tag30.xml"/><Relationship Id="rId12" Type="http://schemas.openxmlformats.org/officeDocument/2006/relationships/tags" Target="../tags/tag35.xml"/><Relationship Id="rId17" Type="http://schemas.openxmlformats.org/officeDocument/2006/relationships/slideLayout" Target="../slideLayouts/slideLayout7.xml"/><Relationship Id="rId2" Type="http://schemas.openxmlformats.org/officeDocument/2006/relationships/tags" Target="../tags/tag25.xml"/><Relationship Id="rId16" Type="http://schemas.openxmlformats.org/officeDocument/2006/relationships/tags" Target="../tags/tag39.xml"/><Relationship Id="rId20" Type="http://schemas.openxmlformats.org/officeDocument/2006/relationships/image" Target="../media/image5.emf"/><Relationship Id="rId1" Type="http://schemas.openxmlformats.org/officeDocument/2006/relationships/vmlDrawing" Target="../drawings/vmlDrawing9.vml"/><Relationship Id="rId6" Type="http://schemas.openxmlformats.org/officeDocument/2006/relationships/tags" Target="../tags/tag29.xml"/><Relationship Id="rId11" Type="http://schemas.openxmlformats.org/officeDocument/2006/relationships/tags" Target="../tags/tag34.xml"/><Relationship Id="rId5" Type="http://schemas.openxmlformats.org/officeDocument/2006/relationships/tags" Target="../tags/tag28.xml"/><Relationship Id="rId15" Type="http://schemas.openxmlformats.org/officeDocument/2006/relationships/tags" Target="../tags/tag38.xml"/><Relationship Id="rId23" Type="http://schemas.openxmlformats.org/officeDocument/2006/relationships/image" Target="../media/image26.png"/><Relationship Id="rId10" Type="http://schemas.openxmlformats.org/officeDocument/2006/relationships/tags" Target="../tags/tag33.xml"/><Relationship Id="rId19" Type="http://schemas.openxmlformats.org/officeDocument/2006/relationships/oleObject" Target="../embeddings/oleObject9.bin"/><Relationship Id="rId4" Type="http://schemas.openxmlformats.org/officeDocument/2006/relationships/tags" Target="../tags/tag27.xml"/><Relationship Id="rId9" Type="http://schemas.openxmlformats.org/officeDocument/2006/relationships/tags" Target="../tags/tag32.xml"/><Relationship Id="rId14" Type="http://schemas.openxmlformats.org/officeDocument/2006/relationships/tags" Target="../tags/tag37.xml"/><Relationship Id="rId22" Type="http://schemas.openxmlformats.org/officeDocument/2006/relationships/image" Target="../media/image25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tags" Target="../tags/tag46.xml"/><Relationship Id="rId13" Type="http://schemas.openxmlformats.org/officeDocument/2006/relationships/tags" Target="../tags/tag51.xml"/><Relationship Id="rId18" Type="http://schemas.openxmlformats.org/officeDocument/2006/relationships/chart" Target="../charts/chart4.xml"/><Relationship Id="rId3" Type="http://schemas.openxmlformats.org/officeDocument/2006/relationships/tags" Target="../tags/tag41.xml"/><Relationship Id="rId21" Type="http://schemas.openxmlformats.org/officeDocument/2006/relationships/image" Target="../media/image28.png"/><Relationship Id="rId7" Type="http://schemas.openxmlformats.org/officeDocument/2006/relationships/tags" Target="../tags/tag45.xml"/><Relationship Id="rId12" Type="http://schemas.openxmlformats.org/officeDocument/2006/relationships/tags" Target="../tags/tag50.xml"/><Relationship Id="rId17" Type="http://schemas.openxmlformats.org/officeDocument/2006/relationships/image" Target="../media/image5.emf"/><Relationship Id="rId2" Type="http://schemas.openxmlformats.org/officeDocument/2006/relationships/tags" Target="../tags/tag40.xml"/><Relationship Id="rId16" Type="http://schemas.openxmlformats.org/officeDocument/2006/relationships/oleObject" Target="../embeddings/oleObject10.bin"/><Relationship Id="rId20" Type="http://schemas.openxmlformats.org/officeDocument/2006/relationships/image" Target="../media/image27.png"/><Relationship Id="rId1" Type="http://schemas.openxmlformats.org/officeDocument/2006/relationships/vmlDrawing" Target="../drawings/vmlDrawing10.vml"/><Relationship Id="rId6" Type="http://schemas.openxmlformats.org/officeDocument/2006/relationships/tags" Target="../tags/tag44.xml"/><Relationship Id="rId11" Type="http://schemas.openxmlformats.org/officeDocument/2006/relationships/tags" Target="../tags/tag49.xml"/><Relationship Id="rId5" Type="http://schemas.openxmlformats.org/officeDocument/2006/relationships/tags" Target="../tags/tag43.xml"/><Relationship Id="rId15" Type="http://schemas.openxmlformats.org/officeDocument/2006/relationships/slideLayout" Target="../slideLayouts/slideLayout7.xml"/><Relationship Id="rId10" Type="http://schemas.openxmlformats.org/officeDocument/2006/relationships/tags" Target="../tags/tag48.xml"/><Relationship Id="rId19" Type="http://schemas.openxmlformats.org/officeDocument/2006/relationships/image" Target="../media/image25.png"/><Relationship Id="rId4" Type="http://schemas.openxmlformats.org/officeDocument/2006/relationships/tags" Target="../tags/tag42.xml"/><Relationship Id="rId9" Type="http://schemas.openxmlformats.org/officeDocument/2006/relationships/tags" Target="../tags/tag47.xml"/><Relationship Id="rId14" Type="http://schemas.openxmlformats.org/officeDocument/2006/relationships/tags" Target="../tags/tag5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9.png"/><Relationship Id="rId2" Type="http://schemas.openxmlformats.org/officeDocument/2006/relationships/tags" Target="../tags/tag5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1.bin"/><Relationship Id="rId4" Type="http://schemas.openxmlformats.org/officeDocument/2006/relationships/image" Target="../media/image25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14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hyperlink" Target="https://dx.doi.org/10.18565/therapy.2021.1.47-57" TargetMode="Externa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sdmanuals.com/ru/%D0%BF%D1%80%D0%BE%D1%84%D0%B5%D1%81%D1%81%D0%B8%D0%BE%D0%BD%D0%B0%D0%BB%D1%8C%D0%BD%D1%8B%D0%B9/%D0%BD%D0%B5%D0%B2%D1%80%D0%BE%D0%BB%D0%BE%D0%B3%D0%B8%D1%87%D0%B5%D1%81%D0%BA%D0%B8%D0%B5-%D1%80%D0%B0%D1%81%D1%81%D1%82%D1%80%D0%BE%D0%B9%D1%81%D1%82%D0%B2%D0%B0/%D1%8D%D0%BA%D1%81%D1%82%D1%80%D0%B0%D0%BF%D0%B8%D1%80%D0%B0%D0%BC%D0%B8%D0%B4%D0%BD%D1%8B%D0%B5-%D0%B8-%D0%BC%D0%BE%D0%B7%D0%B6%D0%B5%D1%87%D0%BA%D0%BE%D0%B2%D1%8B%D0%B5-%D1%80%D0%B0%D1%81%D1%81%D1%82%D1%80%D0%BE%D0%B9%D1%81%D1%82%D0%B2%D0%B0/%D0%B4%D0%B8%D1%81%D1%82%D0%BE%D0%BD%D0%B8%D0%B8" TargetMode="External"/><Relationship Id="rId2" Type="http://schemas.openxmlformats.org/officeDocument/2006/relationships/hyperlink" Target="https://www.msdmanuals.com/ru/%D0%BF%D1%80%D0%BE%D1%84%D0%B5%D1%81%D1%81%D0%B8%D0%BE%D0%BD%D0%B0%D0%BB%D1%8C%D0%BD%D1%8B%D0%B9/%D0%BD%D0%B0%D1%80%D1%83%D1%88%D0%B5%D0%BD%D0%B8%D1%8F-%D1%81%D0%B5%D1%80%D0%B4%D0%B5%D1%87%D0%BD%D0%BE-%D1%81%D0%BE%D1%81%D1%83%D0%B4%D0%B8%D1%81%D1%82%D0%BE%D0%B9-%D1%81%D0%B8%D1%81%D1%82%D0%B5%D0%BC%D1%8B/%D0%B1%D0%BE%D0%BB%D0%B5%D0%B7%D0%BD%D0%B8-%D0%BF%D0%B5%D1%80%D0%B8%D1%84%D0%B5%D1%80%D0%B8%D1%87%D0%B5%D1%81%D0%BA%D0%B8%D1%85-%D0%B0%D1%80%D1%82%D0%B5%D1%80%D0%B8%D0%B0%D0%BB%D1%8C%D0%BD%D1%8B%D1%85-%D1%81%D0%BE%D1%81%D1%83%D0%B4%D0%BE%D0%B2/%D0%BF%D0%BE%D1%80%D0%B0%D0%B6%D0%B5%D0%BD%D0%B8%D0%B5-%D0%BF%D0%B5%D1%80%D0%B8%D1%84%D0%B5%D1%80%D0%B8%D1%87%D0%B5%D1%81%D0%BA%D0%B8%D1%85-%D0%B0%D1%80%D1%82%D0%B5%D1%80%D0%B8%D0%B9#v940573_ru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21CA5EE-F1EA-F569-63F7-0A986C3205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603695"/>
          </a:xfrm>
        </p:spPr>
        <p:txBody>
          <a:bodyPr>
            <a:normAutofit fontScale="90000"/>
          </a:bodyPr>
          <a:lstStyle/>
          <a:p>
            <a:r>
              <a:rPr lang="ru-RU" sz="4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Болевой мышечный спазм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1EC7654A-B2DB-A38E-EEAB-3BF3C0154A8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21923" y="2687638"/>
            <a:ext cx="9144000" cy="1655762"/>
          </a:xfrm>
        </p:spPr>
        <p:txBody>
          <a:bodyPr/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Заведующая кафедрой медицинской реабилитации                      НГИУВ – филиал ФБОУ ДПО РМАНПО МЗ РФ</a:t>
            </a:r>
          </a:p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цент, к. м. н.  Жестикова Марина Григорьевна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BCEE6B1-9B5D-4551-A475-1DF5F0B27251}"/>
              </a:ext>
            </a:extLst>
          </p:cNvPr>
          <p:cNvSpPr txBox="1"/>
          <p:nvPr/>
        </p:nvSpPr>
        <p:spPr>
          <a:xfrm>
            <a:off x="521413" y="5896185"/>
            <a:ext cx="10245904" cy="6924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i="1" kern="12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Лекция разработана при участии компании Байер и содержит информацию о продукции компании Байер в рамках зарегистрированных показаний</a:t>
            </a:r>
            <a:endParaRPr lang="ru-RU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ru-RU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94630475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93EC94-EFAE-8C05-573B-895B451902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следование при мышечном спазме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BD4D30D5-0390-4142-D5E4-69266C50794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l"/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При </a:t>
            </a:r>
            <a:r>
              <a:rPr lang="ru-RU" b="0" i="0" dirty="0" err="1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физикальном</a:t>
            </a:r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обследовании оценивается состояние кожи, включая признаки </a:t>
            </a:r>
            <a:r>
              <a:rPr lang="ru-RU" b="0" i="0" u="sng" dirty="0">
                <a:solidFill>
                  <a:srgbClr val="B12E3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  <a:hlinkClick r:id="rId2" tooltip="Алкоголизм и реабилитация"/>
              </a:rPr>
              <a:t>алкоголизма</a:t>
            </a:r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, пастозность или выпадение волос, бровей (что может указывать на </a:t>
            </a:r>
            <a:r>
              <a:rPr lang="ru-RU" b="0" i="0" dirty="0" err="1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гипотиреоидизм</a:t>
            </a:r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), а также изменение влажности и тургора кожи. </a:t>
            </a:r>
          </a:p>
          <a:p>
            <a:pPr algn="l"/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Проводится </a:t>
            </a:r>
            <a:r>
              <a:rPr lang="ru-RU" b="0" i="0" u="sng" dirty="0">
                <a:solidFill>
                  <a:srgbClr val="B12E3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  <a:hlinkClick r:id="rId3" tooltip="Неврологический осмотр, введение"/>
              </a:rPr>
              <a:t>неврологическое обследование</a:t>
            </a:r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, включая оценку сухожильных рефлексов.</a:t>
            </a:r>
          </a:p>
          <a:p>
            <a:pPr algn="l"/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Необходимо оценить пульс и измерить артериальное давление на всех конечностях. Слабый пульс или низкое значение соотношения АД, измеренного на лодыжке на пораженной ноге, и АД, измеренного на плече, может указывать на наличие ишемии.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878554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9AF935F-F47C-44C9-F229-E23AEB3C0E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следование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43D89C9A-656F-4D7A-B0DE-28056E6A407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pPr algn="l"/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Тестирование проводится указанным способом при выявлении нарушений при клиническом обследовании. Тестирование не проводят рутинно.</a:t>
            </a:r>
          </a:p>
          <a:p>
            <a:pPr algn="l"/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Следует провести измерение уровня глюкозы в крови, исследование функции почек и содержания электролитов, в том числе кальция и магния, в случае наличия у пациентов диффузных судорог неизвестной этиологии, особенно при </a:t>
            </a:r>
            <a:r>
              <a:rPr lang="ru-RU" b="0" i="0" dirty="0" err="1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гиперрефлексии</a:t>
            </a:r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algn="l"/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Содержание ионов кальция и газовый состав артериальной крови (для подтверждения респираторного алкалоза) измеряются при тетании.</a:t>
            </a:r>
          </a:p>
          <a:p>
            <a:pPr algn="l"/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Электромиографию проводят при ослаблении тонуса </a:t>
            </a:r>
            <a:r>
              <a:rPr lang="ru-RU" b="0" i="0" dirty="0" err="1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спазмированных</a:t>
            </a:r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мышц пациента.</a:t>
            </a:r>
          </a:p>
          <a:p>
            <a:pPr algn="l"/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При наличии очаговой мышечной слабости или очаговой неврологической симптоматики необходимо провести МРТ головного мозга и, зачастую, спинного мозга.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753143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8480456-A382-4087-989B-BDA9176792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ерегрузка мышц – самая частая причин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2C78798-C5CA-D3BD-FCC4-FC089D6D6E1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астяжении мышцы или группы мышц</a:t>
            </a:r>
          </a:p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нтенсивность боли – от приемлемо – терпимой до интенсивной.</a:t>
            </a:r>
          </a:p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ожет затрагивать любой фокус тела.</a:t>
            </a:r>
          </a:p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л, возраст, профессия, образование  и образ жизни значения не имеют.</a:t>
            </a:r>
          </a:p>
        </p:txBody>
      </p:sp>
    </p:spTree>
    <p:extLst>
      <p:ext uri="{BB962C8B-B14F-4D97-AF65-F5344CB8AC3E}">
        <p14:creationId xmlns:p14="http://schemas.microsoft.com/office/powerpoint/2010/main" val="11059864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184F545-59B0-EF9B-01EC-17AE209B8E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чина перегрузки мышц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97AA4C8-A625-BFF1-32D2-1E166EF9152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страя травматизация мышечного волокна</a:t>
            </a:r>
          </a:p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Хроническая мышечная дисфункция – 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миофасциальный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болевой синдром</a:t>
            </a:r>
          </a:p>
          <a:p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Мышечно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– скелетный болевой синдром (в области спины)</a:t>
            </a:r>
          </a:p>
        </p:txBody>
      </p:sp>
    </p:spTree>
    <p:extLst>
      <p:ext uri="{BB962C8B-B14F-4D97-AF65-F5344CB8AC3E}">
        <p14:creationId xmlns:p14="http://schemas.microsoft.com/office/powerpoint/2010/main" val="89766024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FD72B2C-3234-0E17-B149-98846DC1BE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гноз благоприятный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588A6417-AC0C-7EE1-9C42-3E310BF7A7C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 однократной физической нагрузке мышц  болевой мышечный спазм спонтанно регрессирует через 48 часов.</a:t>
            </a:r>
          </a:p>
        </p:txBody>
      </p:sp>
    </p:spTree>
    <p:extLst>
      <p:ext uri="{BB962C8B-B14F-4D97-AF65-F5344CB8AC3E}">
        <p14:creationId xmlns:p14="http://schemas.microsoft.com/office/powerpoint/2010/main" val="260788633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6F7C301-B139-6B40-5FA5-E5A1B669A6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Объект 3">
            <a:extLst>
              <a:ext uri="{FF2B5EF4-FFF2-40B4-BE49-F238E27FC236}">
                <a16:creationId xmlns:a16="http://schemas.microsoft.com/office/drawing/2014/main" id="{8BFE5100-6A96-D714-DEA5-70754116D88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838200" y="71120"/>
            <a:ext cx="10388600" cy="67445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29259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98A0884-C0E0-7607-7D46-530E0B09FA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орочный круг по механизму самовоспроизведения: 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052ECCD3-DE22-753F-43E1-7CA96CB1514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10000"/>
          </a:bodyPr>
          <a:lstStyle/>
          <a:p>
            <a:r>
              <a:rPr lang="ru-RU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</a:t>
            </a:r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оль–мышечный спазм– усиленная боль– болезненный мышечный спазм. </a:t>
            </a:r>
          </a:p>
          <a:p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Предположительно в мышце формируются триггерные точки, содержащие множественные локусы </a:t>
            </a:r>
            <a:r>
              <a:rPr lang="ru-RU" b="0" i="0" dirty="0" err="1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сенситизации</a:t>
            </a:r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, состоящие из одного или нескольких </a:t>
            </a:r>
            <a:r>
              <a:rPr lang="ru-RU" b="0" i="0" dirty="0" err="1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сенситизированных</a:t>
            </a:r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нервных окончаний. </a:t>
            </a:r>
          </a:p>
          <a:p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Врач чаще всего имеет дело с БМС при болях в спине в рамках дегенеративно–дистрофических поражений позвоночника (рефлекторные </a:t>
            </a:r>
            <a:r>
              <a:rPr lang="ru-RU" b="0" i="0" dirty="0" err="1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мышечно</a:t>
            </a:r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–тонические синдромы) или </a:t>
            </a:r>
            <a:r>
              <a:rPr lang="ru-RU" b="0" i="0" dirty="0" err="1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миофасциальных</a:t>
            </a:r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синдромов. </a:t>
            </a:r>
          </a:p>
          <a:p>
            <a:r>
              <a:rPr lang="ru-RU" b="0" i="0" dirty="0" err="1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Миофасциальные</a:t>
            </a:r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болевые синдромы, как правило, не связаны с патологией позвоночника, а являются проявлением первичной дисфункции </a:t>
            </a:r>
            <a:r>
              <a:rPr lang="ru-RU" b="0" i="0" dirty="0" err="1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миофасциальных</a:t>
            </a:r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тканей, но могут развиваться на фоне рефлекторных </a:t>
            </a:r>
            <a:r>
              <a:rPr lang="ru-RU" b="0" i="0" dirty="0" err="1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мышечно</a:t>
            </a:r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–тонических </a:t>
            </a:r>
            <a:r>
              <a:rPr lang="ru-RU" b="0" i="0" dirty="0" err="1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вертеброгенных</a:t>
            </a:r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синдромов, осложняя их течение.</a:t>
            </a:r>
            <a:r>
              <a:rPr lang="ru-RU" b="0" i="0" dirty="0">
                <a:solidFill>
                  <a:srgbClr val="000000"/>
                </a:solidFill>
                <a:effectLst/>
                <a:latin typeface="Source Sans 3"/>
              </a:rPr>
              <a:t/>
            </a:r>
            <a:br>
              <a:rPr lang="ru-RU" b="0" i="0" dirty="0">
                <a:solidFill>
                  <a:srgbClr val="000000"/>
                </a:solidFill>
                <a:effectLst/>
                <a:latin typeface="Source Sans 3"/>
              </a:rPr>
            </a:br>
            <a:r>
              <a:rPr lang="ru-RU" b="0" i="0" dirty="0">
                <a:solidFill>
                  <a:srgbClr val="000000"/>
                </a:solidFill>
                <a:effectLst/>
                <a:latin typeface="Source Sans 3"/>
              </a:rPr>
              <a:t/>
            </a:r>
            <a:br>
              <a:rPr lang="ru-RU" b="0" i="0" dirty="0">
                <a:solidFill>
                  <a:srgbClr val="000000"/>
                </a:solidFill>
                <a:effectLst/>
                <a:latin typeface="Source Sans 3"/>
              </a:rPr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3171851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626E113D-EF57-46DE-9475-312612B0E68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12" imgW="425" imgH="424" progId="TCLayout.ActiveDocument.1">
                  <p:embed/>
                </p:oleObj>
              </mc:Choice>
              <mc:Fallback>
                <p:oleObj name="think-cell Slide" r:id="rId12" imgW="425" imgH="424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626E113D-EF57-46DE-9475-312612B0E6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9E6582E7-45A6-452A-AAD3-B30D92B0B5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EDA870-630B-4DE6-83FA-C73B4D13AF29}" type="slidenum">
              <a:rPr lang="ru-RU" smtClean="0">
                <a:solidFill>
                  <a:schemeClr val="tx1"/>
                </a:solidFill>
              </a:rPr>
              <a:t>17</a:t>
            </a:fld>
            <a:endParaRPr lang="ru-RU">
              <a:solidFill>
                <a:schemeClr val="tx1"/>
              </a:solidFill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BF1062F-6A63-41A0-AC8C-07825A1A5C2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474637" y="444396"/>
            <a:ext cx="9921240" cy="655638"/>
          </a:xfrm>
        </p:spPr>
        <p:txBody>
          <a:bodyPr vert="horz">
            <a:noAutofit/>
          </a:bodyPr>
          <a:lstStyle/>
          <a:p>
            <a:pPr algn="l"/>
            <a:r>
              <a:rPr lang="ru-RU" sz="2900" dirty="0">
                <a:latin typeface="Arial" panose="020B0604020202020204" pitchFamily="34" charset="0"/>
                <a:cs typeface="Arial" panose="020B0604020202020204" pitchFamily="34" charset="0"/>
              </a:rPr>
              <a:t>Этиология болевого синдрома в нижней части спины</a:t>
            </a:r>
          </a:p>
        </p:txBody>
      </p:sp>
      <p:graphicFrame>
        <p:nvGraphicFramePr>
          <p:cNvPr id="13" name="Diagram 9">
            <a:extLst>
              <a:ext uri="{FF2B5EF4-FFF2-40B4-BE49-F238E27FC236}">
                <a16:creationId xmlns:a16="http://schemas.microsoft.com/office/drawing/2014/main" id="{4C060888-11FE-4424-A450-74CA0051C87E}"/>
              </a:ext>
            </a:extLst>
          </p:cNvPr>
          <p:cNvGraphicFramePr/>
          <p:nvPr/>
        </p:nvGraphicFramePr>
        <p:xfrm>
          <a:off x="7552912" y="1099456"/>
          <a:ext cx="4371019" cy="37321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4" r:lo="rId15" r:qs="rId16" r:cs="rId17"/>
          </a:graphicData>
        </a:graphic>
      </p:graphicFrame>
      <p:sp>
        <p:nvSpPr>
          <p:cNvPr id="14" name="Объект 2">
            <a:extLst>
              <a:ext uri="{FF2B5EF4-FFF2-40B4-BE49-F238E27FC236}">
                <a16:creationId xmlns:a16="http://schemas.microsoft.com/office/drawing/2014/main" id="{3DBB3447-A1E7-4227-9F4D-4C06072465FF}"/>
              </a:ext>
            </a:extLst>
          </p:cNvPr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688820" y="2714928"/>
            <a:ext cx="6053691" cy="2040123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A06F2A"/>
              </a:buClr>
              <a:buFont typeface="Wingdings" panose="05000000000000000000" pitchFamily="2" charset="2"/>
              <a:buChar char="ü"/>
            </a:pPr>
            <a:r>
              <a:rPr lang="ru-RU" dirty="0">
                <a:solidFill>
                  <a:srgbClr val="A06F2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90-95% случаев боль в спине имеет неспецифический характер и является проявлением скелетно-мышечных изменений</a:t>
            </a:r>
          </a:p>
          <a:p>
            <a:pPr>
              <a:buClr>
                <a:srgbClr val="A06F2A"/>
              </a:buClr>
              <a:buFont typeface="Wingdings" panose="05000000000000000000" pitchFamily="2" charset="2"/>
              <a:buChar char="ü"/>
            </a:pPr>
            <a:r>
              <a:rPr lang="ru-RU" dirty="0">
                <a:solidFill>
                  <a:srgbClr val="A06F2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5-10% случаев причиной боли становятся инфекционные, неопластические, воспалительные и другие заболевания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F6C49F8-543C-47EA-8CF3-2C85326AA2B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783945" y="1366092"/>
            <a:ext cx="31924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Специфическая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боль</a:t>
            </a:r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B2CD7796-19AA-41E1-AA6D-413067350C3B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322533"/>
              </p:ext>
            </p:extLst>
          </p:nvPr>
        </p:nvGraphicFramePr>
        <p:xfrm>
          <a:off x="2315954" y="1887613"/>
          <a:ext cx="719137" cy="7191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22" name="Rectangle 30">
            <a:extLst>
              <a:ext uri="{FF2B5EF4-FFF2-40B4-BE49-F238E27FC236}">
                <a16:creationId xmlns:a16="http://schemas.microsoft.com/office/drawing/2014/main" id="{CA065A13-00DF-406A-8B19-17BEB071766C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1018414" y="1985572"/>
            <a:ext cx="129754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90-95%</a:t>
            </a:r>
            <a:endParaRPr lang="ru-RU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6" name="Chart 15">
            <a:extLst>
              <a:ext uri="{FF2B5EF4-FFF2-40B4-BE49-F238E27FC236}">
                <a16:creationId xmlns:a16="http://schemas.microsoft.com/office/drawing/2014/main" id="{02D62B05-619F-4657-82E0-6C50CCC93B53}"/>
              </a:ext>
            </a:extLst>
          </p:cNvPr>
          <p:cNvGraphicFramePr/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060564204"/>
              </p:ext>
            </p:extLst>
          </p:nvPr>
        </p:nvGraphicFramePr>
        <p:xfrm>
          <a:off x="5292788" y="1876076"/>
          <a:ext cx="717550" cy="717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"/>
          </a:graphicData>
        </a:graphic>
      </p:graphicFrame>
      <p:sp>
        <p:nvSpPr>
          <p:cNvPr id="26" name="Rectangle 32">
            <a:extLst>
              <a:ext uri="{FF2B5EF4-FFF2-40B4-BE49-F238E27FC236}">
                <a16:creationId xmlns:a16="http://schemas.microsoft.com/office/drawing/2014/main" id="{2BBD3F2F-2815-45BE-899C-07E6E91C33B7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3783945" y="2006701"/>
            <a:ext cx="1481011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  <a:sym typeface="+mn-lt"/>
              </a:rPr>
              <a:t>5-10%</a:t>
            </a:r>
            <a:endParaRPr lang="ru-RU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7F68DC5-C144-4AFD-A070-CC598C4E59C7}"/>
              </a:ext>
            </a:extLst>
          </p:cNvPr>
          <p:cNvSpPr txBox="1"/>
          <p:nvPr>
            <p:custDataLst>
              <p:tags r:id="rId9"/>
            </p:custDataLst>
          </p:nvPr>
        </p:nvSpPr>
        <p:spPr>
          <a:xfrm>
            <a:off x="1021945" y="1366092"/>
            <a:ext cx="29742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Неспецифическая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боль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0" y="5311440"/>
            <a:ext cx="12192000" cy="762066"/>
          </a:xfrm>
          <a:prstGeom prst="rect">
            <a:avLst/>
          </a:prstGeom>
          <a:solidFill>
            <a:srgbClr val="53BFB0">
              <a:alpha val="4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 17"/>
          <p:cNvSpPr/>
          <p:nvPr/>
        </p:nvSpPr>
        <p:spPr>
          <a:xfrm>
            <a:off x="0" y="5311440"/>
            <a:ext cx="2502568" cy="762066"/>
          </a:xfrm>
          <a:prstGeom prst="rect">
            <a:avLst/>
          </a:prstGeom>
          <a:solidFill>
            <a:srgbClr val="53BFB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2332253" y="5311440"/>
            <a:ext cx="353599" cy="762066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2887579" y="5334947"/>
            <a:ext cx="839665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Диагностика боли в спине затруднена вследствие множественной этиологии.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7659501" y="1285349"/>
            <a:ext cx="2546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7978741" y="1786183"/>
            <a:ext cx="25835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8137003" y="2277960"/>
            <a:ext cx="29848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8178211" y="2784795"/>
            <a:ext cx="2137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137003" y="3323659"/>
            <a:ext cx="2572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7963382" y="3830494"/>
            <a:ext cx="25835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7659500" y="4339105"/>
            <a:ext cx="25464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982105" y="5473446"/>
            <a:ext cx="169341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200" b="1" dirty="0">
                <a:latin typeface="Inter" panose="02000803000000020004" pitchFamily="50" charset="0"/>
                <a:ea typeface="Inter" panose="02000803000000020004" pitchFamily="50" charset="0"/>
                <a:cs typeface="Inter" panose="02000803000000020004" pitchFamily="50" charset="0"/>
              </a:rPr>
              <a:t>ВАЖНО!</a:t>
            </a:r>
          </a:p>
        </p:txBody>
      </p:sp>
      <p:sp>
        <p:nvSpPr>
          <p:cNvPr id="29" name="Нижний колонтитул 5">
            <a:extLst>
              <a:ext uri="{FF2B5EF4-FFF2-40B4-BE49-F238E27FC236}">
                <a16:creationId xmlns:a16="http://schemas.microsoft.com/office/drawing/2014/main" id="{B1DFA1B3-4FC1-48DD-A563-F55EE0D7B960}"/>
              </a:ext>
            </a:extLst>
          </p:cNvPr>
          <p:cNvSpPr txBox="1">
            <a:spLocks/>
          </p:cNvSpPr>
          <p:nvPr/>
        </p:nvSpPr>
        <p:spPr>
          <a:xfrm>
            <a:off x="891465" y="6125813"/>
            <a:ext cx="1061388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dirty="0" err="1">
                <a:solidFill>
                  <a:schemeClr val="tx1"/>
                </a:solidFill>
              </a:rPr>
              <a:t>Airaksinen</a:t>
            </a:r>
            <a:r>
              <a:rPr lang="en-US" dirty="0">
                <a:solidFill>
                  <a:schemeClr val="tx1"/>
                </a:solidFill>
              </a:rPr>
              <a:t> O</a:t>
            </a:r>
            <a:r>
              <a:rPr lang="ru-RU" dirty="0">
                <a:solidFill>
                  <a:schemeClr val="tx1"/>
                </a:solidFill>
              </a:rPr>
              <a:t> </a:t>
            </a:r>
            <a:r>
              <a:rPr lang="en-US" dirty="0">
                <a:solidFill>
                  <a:schemeClr val="tx1"/>
                </a:solidFill>
              </a:rPr>
              <a:t>et al. </a:t>
            </a:r>
            <a:r>
              <a:rPr lang="en-US" dirty="0" err="1">
                <a:solidFill>
                  <a:schemeClr val="tx1"/>
                </a:solidFill>
              </a:rPr>
              <a:t>Eur</a:t>
            </a:r>
            <a:r>
              <a:rPr lang="en-US" dirty="0">
                <a:solidFill>
                  <a:schemeClr val="tx1"/>
                </a:solidFill>
              </a:rPr>
              <a:t> Spine J. 2006;15 </a:t>
            </a:r>
            <a:r>
              <a:rPr lang="en-US" dirty="0" err="1">
                <a:solidFill>
                  <a:schemeClr val="tx1"/>
                </a:solidFill>
              </a:rPr>
              <a:t>suppl</a:t>
            </a:r>
            <a:r>
              <a:rPr lang="en-US" dirty="0">
                <a:solidFill>
                  <a:schemeClr val="tx1"/>
                </a:solidFill>
              </a:rPr>
              <a:t> 2:S192–300</a:t>
            </a:r>
          </a:p>
          <a:p>
            <a:pPr algn="l"/>
            <a:r>
              <a:rPr lang="ru-RU" dirty="0">
                <a:solidFill>
                  <a:schemeClr val="tx1"/>
                </a:solidFill>
              </a:rPr>
              <a:t>Сергеев А. В. Неврология, </a:t>
            </a:r>
            <a:r>
              <a:rPr lang="ru-RU" dirty="0" err="1">
                <a:solidFill>
                  <a:schemeClr val="tx1"/>
                </a:solidFill>
              </a:rPr>
              <a:t>нейропсихиатрия</a:t>
            </a:r>
            <a:r>
              <a:rPr lang="ru-RU" dirty="0">
                <a:solidFill>
                  <a:schemeClr val="tx1"/>
                </a:solidFill>
              </a:rPr>
              <a:t>, </a:t>
            </a:r>
            <a:r>
              <a:rPr lang="ru-RU" dirty="0" err="1">
                <a:solidFill>
                  <a:schemeClr val="tx1"/>
                </a:solidFill>
              </a:rPr>
              <a:t>психосоматика</a:t>
            </a:r>
            <a:r>
              <a:rPr lang="ru-RU" dirty="0">
                <a:solidFill>
                  <a:schemeClr val="tx1"/>
                </a:solidFill>
              </a:rPr>
              <a:t>, 2013. № 3.</a:t>
            </a:r>
          </a:p>
        </p:txBody>
      </p:sp>
    </p:spTree>
    <p:extLst>
      <p:ext uri="{BB962C8B-B14F-4D97-AF65-F5344CB8AC3E}">
        <p14:creationId xmlns:p14="http://schemas.microsoft.com/office/powerpoint/2010/main" val="418298948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626E113D-EF57-46DE-9475-312612B0E68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626E113D-EF57-46DE-9475-312612B0E6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9E6582E7-45A6-452A-AAD3-B30D92B0B5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EDA870-630B-4DE6-83FA-C73B4D13AF29}" type="slidenum">
              <a:rPr lang="ru-RU" smtClean="0">
                <a:solidFill>
                  <a:schemeClr val="tx1"/>
                </a:solidFill>
              </a:rPr>
              <a:t>18</a:t>
            </a:fld>
            <a:endParaRPr lang="ru-RU">
              <a:solidFill>
                <a:schemeClr val="tx1"/>
              </a:solidFill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BF1062F-6A63-41A0-AC8C-07825A1A5C2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149086" y="556898"/>
            <a:ext cx="9958939" cy="533400"/>
          </a:xfrm>
        </p:spPr>
        <p:txBody>
          <a:bodyPr vert="horz">
            <a:normAutofit/>
          </a:bodyPr>
          <a:lstStyle/>
          <a:p>
            <a:pPr algn="l"/>
            <a:r>
              <a:rPr lang="ru-RU" sz="2900" dirty="0">
                <a:latin typeface="Arial" panose="020B0604020202020204" pitchFamily="34" charset="0"/>
                <a:cs typeface="Arial" panose="020B0604020202020204" pitchFamily="34" charset="0"/>
              </a:rPr>
              <a:t>Причины неспецифической боли в нижней части спины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247C882-F95D-4695-95E1-97D884B01DDB}"/>
              </a:ext>
            </a:extLst>
          </p:cNvPr>
          <p:cNvSpPr txBox="1"/>
          <p:nvPr/>
        </p:nvSpPr>
        <p:spPr>
          <a:xfrm>
            <a:off x="1149087" y="1517972"/>
            <a:ext cx="6457673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latin typeface="Inter" panose="02000803000000020004" pitchFamily="50" charset="0"/>
                <a:ea typeface="Inter" panose="02000803000000020004" pitchFamily="50" charset="0"/>
                <a:cs typeface="Inter" panose="02000803000000020004" pitchFamily="50" charset="0"/>
              </a:rPr>
              <a:t>Дегенеративно-дистрофические заболевания позвоночника (ДДЗП) </a:t>
            </a:r>
            <a:r>
              <a:rPr lang="ru-RU" dirty="0"/>
              <a:t>– </a:t>
            </a:r>
            <a:r>
              <a:rPr lang="ru-RU" dirty="0">
                <a:cs typeface="Arial" panose="020B0604020202020204" pitchFamily="34" charset="0"/>
              </a:rPr>
              <a:t>заболевания, характеризующиеся развитием дегенеративных изменений в различных тканях позвоночника, что приводит к поражению структур позвоночника и проявляется развитием болевого синдрома и неврологического дефицита.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893619" y="3392965"/>
            <a:ext cx="684288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rgbClr val="F0CB69"/>
              </a:buClr>
              <a:buFont typeface="Wingdings" panose="05000000000000000000" pitchFamily="2" charset="2"/>
              <a:buChar char="ü"/>
            </a:pPr>
            <a:r>
              <a:rPr lang="ru-RU" dirty="0" err="1">
                <a:cs typeface="Arial" panose="020B0604020202020204" pitchFamily="34" charset="0"/>
              </a:rPr>
              <a:t>Позвоночно</a:t>
            </a:r>
            <a:r>
              <a:rPr lang="ru-RU" dirty="0">
                <a:cs typeface="Arial" panose="020B0604020202020204" pitchFamily="34" charset="0"/>
              </a:rPr>
              <a:t>-двигательный сегмент. Уменьшение высоты межпозвонкового диска приводит к повышению нагрузки на фасеточный сустав и, как следствие, к возникновению болевого синдрома в спине.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952303" y="4889232"/>
            <a:ext cx="383862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«напряжение» в капсуле сустава 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5563946"/>
            <a:ext cx="12193057" cy="762066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" y="5563946"/>
            <a:ext cx="1787236" cy="762066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10438" y="5563946"/>
            <a:ext cx="353599" cy="762066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E29BAB4-FE26-43CA-8764-67733BA70CAA}"/>
              </a:ext>
            </a:extLst>
          </p:cNvPr>
          <p:cNvSpPr txBox="1"/>
          <p:nvPr/>
        </p:nvSpPr>
        <p:spPr>
          <a:xfrm>
            <a:off x="2086470" y="5591036"/>
            <a:ext cx="97198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>
                <a:solidFill>
                  <a:srgbClr val="A06F2A"/>
                </a:solidFill>
                <a:latin typeface="Inter" panose="02000803000000020004" pitchFamily="50" charset="0"/>
                <a:ea typeface="Inter" panose="02000803000000020004" pitchFamily="50" charset="0"/>
                <a:cs typeface="Inter" panose="02000803000000020004" pitchFamily="50" charset="0"/>
              </a:rPr>
              <a:t>Термин </a:t>
            </a:r>
            <a:r>
              <a:rPr lang="ru-RU" b="1" dirty="0" err="1">
                <a:solidFill>
                  <a:srgbClr val="A06F2A"/>
                </a:solidFill>
                <a:latin typeface="Inter" panose="02000803000000020004" pitchFamily="50" charset="0"/>
                <a:ea typeface="Inter" panose="02000803000000020004" pitchFamily="50" charset="0"/>
                <a:cs typeface="Inter" panose="02000803000000020004" pitchFamily="50" charset="0"/>
              </a:rPr>
              <a:t>дорсопатии</a:t>
            </a:r>
            <a:r>
              <a:rPr lang="ru-RU" dirty="0">
                <a:solidFill>
                  <a:srgbClr val="A06F2A"/>
                </a:solidFill>
                <a:latin typeface="Inter" panose="02000803000000020004" pitchFamily="50" charset="0"/>
                <a:ea typeface="Inter" panose="02000803000000020004" pitchFamily="50" charset="0"/>
                <a:cs typeface="Inter" panose="02000803000000020004" pitchFamily="50" charset="0"/>
              </a:rPr>
              <a:t> применяется к группе заболеваний костно-мышечной системы и соединительной ткани позвоночника и </a:t>
            </a:r>
            <a:r>
              <a:rPr lang="ru-RU" dirty="0" err="1">
                <a:solidFill>
                  <a:srgbClr val="A06F2A"/>
                </a:solidFill>
                <a:latin typeface="Inter" panose="02000803000000020004" pitchFamily="50" charset="0"/>
                <a:ea typeface="Inter" panose="02000803000000020004" pitchFamily="50" charset="0"/>
                <a:cs typeface="Inter" panose="02000803000000020004" pitchFamily="50" charset="0"/>
              </a:rPr>
              <a:t>перивертебральных</a:t>
            </a:r>
            <a:r>
              <a:rPr lang="ru-RU" dirty="0">
                <a:solidFill>
                  <a:srgbClr val="A06F2A"/>
                </a:solidFill>
                <a:latin typeface="Inter" panose="02000803000000020004" pitchFamily="50" charset="0"/>
                <a:ea typeface="Inter" panose="02000803000000020004" pitchFamily="50" charset="0"/>
                <a:cs typeface="Inter" panose="02000803000000020004" pitchFamily="50" charset="0"/>
              </a:rPr>
              <a:t> структур.</a:t>
            </a:r>
          </a:p>
        </p:txBody>
      </p:sp>
      <p:grpSp>
        <p:nvGrpSpPr>
          <p:cNvPr id="22" name="Группа 21"/>
          <p:cNvGrpSpPr/>
          <p:nvPr/>
        </p:nvGrpSpPr>
        <p:grpSpPr>
          <a:xfrm>
            <a:off x="7606760" y="1258378"/>
            <a:ext cx="3501265" cy="3630853"/>
            <a:chOff x="7855539" y="1107800"/>
            <a:chExt cx="3252487" cy="3372868"/>
          </a:xfrm>
        </p:grpSpPr>
        <p:pic>
          <p:nvPicPr>
            <p:cNvPr id="5" name="Рисунок 4">
              <a:extLst>
                <a:ext uri="{FF2B5EF4-FFF2-40B4-BE49-F238E27FC236}">
                  <a16:creationId xmlns:a16="http://schemas.microsoft.com/office/drawing/2014/main" id="{700FE0FC-375E-494D-BD6E-083E3D0BAA7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/>
            <a:srcRect l="10869" r="33742" b="35278"/>
            <a:stretch/>
          </p:blipFill>
          <p:spPr>
            <a:xfrm>
              <a:off x="7855539" y="1107800"/>
              <a:ext cx="3252487" cy="3060594"/>
            </a:xfrm>
            <a:prstGeom prst="rect">
              <a:avLst/>
            </a:prstGeom>
          </p:spPr>
        </p:pic>
        <p:cxnSp>
          <p:nvCxnSpPr>
            <p:cNvPr id="16" name="Прямая со стрелкой 15"/>
            <p:cNvCxnSpPr/>
            <p:nvPr/>
          </p:nvCxnSpPr>
          <p:spPr>
            <a:xfrm flipV="1">
              <a:off x="8649651" y="2609851"/>
              <a:ext cx="501970" cy="1870817"/>
            </a:xfrm>
            <a:prstGeom prst="straightConnector1">
              <a:avLst/>
            </a:prstGeom>
            <a:ln w="50800">
              <a:solidFill>
                <a:srgbClr val="5BC0B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TextBox 17"/>
          <p:cNvSpPr txBox="1"/>
          <p:nvPr/>
        </p:nvSpPr>
        <p:spPr>
          <a:xfrm>
            <a:off x="216253" y="5698757"/>
            <a:ext cx="169341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200" b="1" dirty="0">
                <a:solidFill>
                  <a:srgbClr val="A06F2A">
                    <a:alpha val="68000"/>
                  </a:srgbClr>
                </a:solidFill>
                <a:latin typeface="Inter" panose="02000803000000020004" pitchFamily="50" charset="0"/>
                <a:ea typeface="Inter" panose="02000803000000020004" pitchFamily="50" charset="0"/>
                <a:cs typeface="Inter" panose="02000803000000020004" pitchFamily="50" charset="0"/>
              </a:rPr>
              <a:t>ВАЖНО!</a:t>
            </a:r>
          </a:p>
        </p:txBody>
      </p:sp>
      <p:sp>
        <p:nvSpPr>
          <p:cNvPr id="19" name="Нижний колонтитул 5">
            <a:extLst>
              <a:ext uri="{FF2B5EF4-FFF2-40B4-BE49-F238E27FC236}">
                <a16:creationId xmlns:a16="http://schemas.microsoft.com/office/drawing/2014/main" id="{B1DFA1B3-4FC1-48DD-A563-F55EE0D7B960}"/>
              </a:ext>
            </a:extLst>
          </p:cNvPr>
          <p:cNvSpPr txBox="1">
            <a:spLocks/>
          </p:cNvSpPr>
          <p:nvPr/>
        </p:nvSpPr>
        <p:spPr>
          <a:xfrm>
            <a:off x="1231706" y="6318308"/>
            <a:ext cx="1061388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ru-RU" dirty="0" err="1">
                <a:solidFill>
                  <a:srgbClr val="A06F2A"/>
                </a:solidFill>
              </a:rPr>
              <a:t>Гутянский</a:t>
            </a:r>
            <a:r>
              <a:rPr lang="ru-RU" dirty="0">
                <a:solidFill>
                  <a:srgbClr val="A06F2A"/>
                </a:solidFill>
              </a:rPr>
              <a:t> О.Г. РМЖ «Медицинское обозрение», 2014;9:417</a:t>
            </a:r>
          </a:p>
        </p:txBody>
      </p:sp>
    </p:spTree>
    <p:extLst>
      <p:ext uri="{BB962C8B-B14F-4D97-AF65-F5344CB8AC3E}">
        <p14:creationId xmlns:p14="http://schemas.microsoft.com/office/powerpoint/2010/main" val="370737585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626E113D-EF57-46DE-9475-312612B0E68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626E113D-EF57-46DE-9475-312612B0E6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9E6582E7-45A6-452A-AAD3-B30D92B0B5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EDA870-630B-4DE6-83FA-C73B4D13AF29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BF1062F-6A63-41A0-AC8C-07825A1A5C2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210911" y="153513"/>
            <a:ext cx="10515600" cy="655637"/>
          </a:xfrm>
        </p:spPr>
        <p:txBody>
          <a:bodyPr vert="horz">
            <a:normAutofit/>
          </a:bodyPr>
          <a:lstStyle/>
          <a:p>
            <a:r>
              <a:rPr lang="ru-RU" sz="2900" dirty="0">
                <a:latin typeface="Arial" panose="020B0604020202020204" pitchFamily="34" charset="0"/>
                <a:cs typeface="Arial" panose="020B0604020202020204" pitchFamily="34" charset="0"/>
              </a:rPr>
              <a:t>Дегенеративно-дистрофические заболевания позвоночника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B1A4121-702F-4F7E-BEFF-A3409FF5FC7A}"/>
              </a:ext>
            </a:extLst>
          </p:cNvPr>
          <p:cNvSpPr txBox="1"/>
          <p:nvPr/>
        </p:nvSpPr>
        <p:spPr>
          <a:xfrm>
            <a:off x="7142233" y="1874865"/>
            <a:ext cx="444016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0CB69"/>
              </a:buClr>
              <a:buSzPct val="12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Inter" panose="02000803000000020004" pitchFamily="50" charset="0"/>
                <a:ea typeface="Inter" panose="02000803000000020004" pitchFamily="50" charset="0"/>
                <a:cs typeface="Inter" panose="02000803000000020004" pitchFamily="50" charset="0"/>
              </a:rPr>
              <a:t>Грыжей межпозвонкового диска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0CB69"/>
              </a:buClr>
              <a:buSzPct val="12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Inter" panose="02000803000000020004" pitchFamily="50" charset="0"/>
                <a:ea typeface="Inter" panose="02000803000000020004" pitchFamily="50" charset="0"/>
                <a:cs typeface="Inter" panose="02000803000000020004" pitchFamily="50" charset="0"/>
              </a:rPr>
              <a:t>Стенозом позвоночного канала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0CB69"/>
              </a:buClr>
              <a:buSzPct val="12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Inter" panose="02000803000000020004" pitchFamily="50" charset="0"/>
                <a:ea typeface="Inter" panose="02000803000000020004" pitchFamily="50" charset="0"/>
                <a:cs typeface="Inter" panose="02000803000000020004" pitchFamily="50" charset="0"/>
              </a:rPr>
              <a:t>Спондилоартрозом</a:t>
            </a:r>
          </a:p>
          <a:p>
            <a:pPr marL="342900" marR="0" lvl="0" indent="-3429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F0CB69"/>
              </a:buClr>
              <a:buSzPct val="120000"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Inter" panose="02000803000000020004" pitchFamily="50" charset="0"/>
                <a:ea typeface="Inter" panose="02000803000000020004" pitchFamily="50" charset="0"/>
                <a:cs typeface="Inter" panose="02000803000000020004" pitchFamily="50" charset="0"/>
              </a:rPr>
              <a:t>Спондилезом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3809513-7F11-4BD1-AE81-79986DD6EB4A}"/>
              </a:ext>
            </a:extLst>
          </p:cNvPr>
          <p:cNvSpPr txBox="1"/>
          <p:nvPr/>
        </p:nvSpPr>
        <p:spPr>
          <a:xfrm>
            <a:off x="7092246" y="1091864"/>
            <a:ext cx="47663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егенеративно-дистрофические заболевания позвоночника проявляются: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5D9F278-F3C6-46D7-90F5-D6FACDD93978}"/>
              </a:ext>
            </a:extLst>
          </p:cNvPr>
          <p:cNvSpPr txBox="1"/>
          <p:nvPr/>
        </p:nvSpPr>
        <p:spPr>
          <a:xfrm>
            <a:off x="7077006" y="3520957"/>
            <a:ext cx="4943952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оль в пояснично-крестцовом отделе позвоночника входит в число </a:t>
            </a:r>
            <a:r>
              <a:rPr kumimoji="0" lang="ru-RU" sz="1700" b="1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рех основных причин </a:t>
            </a:r>
            <a:r>
              <a:rPr kumimoji="0" lang="ru-RU" sz="17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бращений за медицинской помощью, госпитализаций, а также нетрудоспособности лиц моложе 50 лет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9D725C2-C37D-473C-9903-289FF9514DDC}"/>
              </a:ext>
            </a:extLst>
          </p:cNvPr>
          <p:cNvSpPr txBox="1"/>
          <p:nvPr/>
        </p:nvSpPr>
        <p:spPr>
          <a:xfrm>
            <a:off x="815270" y="1091864"/>
            <a:ext cx="573565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Inter" panose="02000803000000020004" pitchFamily="50" charset="0"/>
                <a:ea typeface="Inter" panose="02000803000000020004" pitchFamily="50" charset="0"/>
                <a:cs typeface="Inter" panose="02000803000000020004" pitchFamily="50" charset="0"/>
              </a:rPr>
              <a:t>Стадии дегенерации межпозвонковых дисков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1057" y="5594286"/>
            <a:ext cx="12193057" cy="762066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914276" y="5594286"/>
            <a:ext cx="353599" cy="762066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570971" y="5759875"/>
            <a:ext cx="145472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АЖНО!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49BE2F3-CDF2-4F2A-A6BE-D9549415088E}"/>
              </a:ext>
            </a:extLst>
          </p:cNvPr>
          <p:cNvSpPr txBox="1"/>
          <p:nvPr/>
        </p:nvSpPr>
        <p:spPr>
          <a:xfrm>
            <a:off x="2441930" y="5621376"/>
            <a:ext cx="88271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Inter" panose="02000803000000020004" pitchFamily="50" charset="0"/>
                <a:ea typeface="Inter" panose="02000803000000020004" pitchFamily="50" charset="0"/>
                <a:cs typeface="Inter" panose="02000803000000020004" pitchFamily="50" charset="0"/>
              </a:rPr>
              <a:t>По распространенности ДДЗП находятся в одном ряду с сосудистыми и онкологическими патологиями.</a:t>
            </a:r>
          </a:p>
        </p:txBody>
      </p:sp>
      <p:grpSp>
        <p:nvGrpSpPr>
          <p:cNvPr id="57" name="Группа 56"/>
          <p:cNvGrpSpPr/>
          <p:nvPr/>
        </p:nvGrpSpPr>
        <p:grpSpPr>
          <a:xfrm>
            <a:off x="2698601" y="1824236"/>
            <a:ext cx="2530636" cy="3237367"/>
            <a:chOff x="7748925" y="1332273"/>
            <a:chExt cx="2670456" cy="3416235"/>
          </a:xfrm>
        </p:grpSpPr>
        <p:pic>
          <p:nvPicPr>
            <p:cNvPr id="13" name="Рисунок 12"/>
            <p:cNvPicPr>
              <a:picLocks noChangeAspect="1"/>
            </p:cNvPicPr>
            <p:nvPr/>
          </p:nvPicPr>
          <p:blipFill rotWithShape="1"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6924" t="6156" r="27860" b="1165"/>
            <a:stretch/>
          </p:blipFill>
          <p:spPr>
            <a:xfrm>
              <a:off x="7748925" y="1332273"/>
              <a:ext cx="2670456" cy="3416235"/>
            </a:xfrm>
            <a:prstGeom prst="rect">
              <a:avLst/>
            </a:prstGeom>
          </p:spPr>
        </p:pic>
        <p:cxnSp>
          <p:nvCxnSpPr>
            <p:cNvPr id="15" name="Прямая со стрелкой 14"/>
            <p:cNvCxnSpPr/>
            <p:nvPr/>
          </p:nvCxnSpPr>
          <p:spPr>
            <a:xfrm>
              <a:off x="7860030" y="1684020"/>
              <a:ext cx="910590" cy="52766"/>
            </a:xfrm>
            <a:prstGeom prst="straightConnector1">
              <a:avLst/>
            </a:prstGeom>
            <a:ln w="31750">
              <a:solidFill>
                <a:srgbClr val="F0CB69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Прямая со стрелкой 24"/>
            <p:cNvCxnSpPr/>
            <p:nvPr/>
          </p:nvCxnSpPr>
          <p:spPr>
            <a:xfrm flipV="1">
              <a:off x="7804785" y="3433938"/>
              <a:ext cx="1264920" cy="49021"/>
            </a:xfrm>
            <a:prstGeom prst="straightConnector1">
              <a:avLst/>
            </a:prstGeom>
            <a:ln w="31750">
              <a:solidFill>
                <a:srgbClr val="53BFB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Прямая со стрелкой 25"/>
            <p:cNvCxnSpPr/>
            <p:nvPr/>
          </p:nvCxnSpPr>
          <p:spPr>
            <a:xfrm flipH="1">
              <a:off x="9286240" y="2689860"/>
              <a:ext cx="746760" cy="600541"/>
            </a:xfrm>
            <a:prstGeom prst="straightConnector1">
              <a:avLst/>
            </a:prstGeom>
            <a:ln w="31750">
              <a:solidFill>
                <a:srgbClr val="6DC6B4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Прямая со стрелкой 26"/>
            <p:cNvCxnSpPr/>
            <p:nvPr/>
          </p:nvCxnSpPr>
          <p:spPr>
            <a:xfrm>
              <a:off x="7844790" y="4128501"/>
              <a:ext cx="912495" cy="68214"/>
            </a:xfrm>
            <a:prstGeom prst="straightConnector1">
              <a:avLst/>
            </a:prstGeom>
            <a:ln w="31750">
              <a:solidFill>
                <a:srgbClr val="5BC0B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Прямая со стрелкой 27"/>
            <p:cNvCxnSpPr/>
            <p:nvPr/>
          </p:nvCxnSpPr>
          <p:spPr>
            <a:xfrm flipH="1" flipV="1">
              <a:off x="9357360" y="3916680"/>
              <a:ext cx="574040" cy="280035"/>
            </a:xfrm>
            <a:prstGeom prst="straightConnector1">
              <a:avLst/>
            </a:prstGeom>
            <a:ln w="34925">
              <a:solidFill>
                <a:srgbClr val="5BC0B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Прямая со стрелкой 28"/>
            <p:cNvCxnSpPr/>
            <p:nvPr/>
          </p:nvCxnSpPr>
          <p:spPr>
            <a:xfrm>
              <a:off x="7804785" y="2663804"/>
              <a:ext cx="902970" cy="8067"/>
            </a:xfrm>
            <a:prstGeom prst="straightConnector1">
              <a:avLst/>
            </a:prstGeom>
            <a:ln w="31750">
              <a:solidFill>
                <a:srgbClr val="F0CB69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8" name="TextBox 57"/>
          <p:cNvSpPr txBox="1"/>
          <p:nvPr/>
        </p:nvSpPr>
        <p:spPr>
          <a:xfrm>
            <a:off x="604938" y="1874865"/>
            <a:ext cx="208286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Здоровый межпозвонковый диск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604938" y="2604115"/>
            <a:ext cx="209366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чальные дегенеративные изменения диска 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599426" y="3508368"/>
            <a:ext cx="203552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рыжа межпозвонкового диска</a:t>
            </a:r>
          </a:p>
        </p:txBody>
      </p:sp>
      <p:sp>
        <p:nvSpPr>
          <p:cNvPr id="61" name="TextBox 60"/>
          <p:cNvSpPr txBox="1"/>
          <p:nvPr/>
        </p:nvSpPr>
        <p:spPr>
          <a:xfrm>
            <a:off x="604132" y="4371677"/>
            <a:ext cx="26559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стончение диска и формирование остеофитов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5111195" y="2799047"/>
            <a:ext cx="17829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давленный нервный корешок</a:t>
            </a:r>
          </a:p>
        </p:txBody>
      </p:sp>
      <p:sp>
        <p:nvSpPr>
          <p:cNvPr id="63" name="TextBox 62"/>
          <p:cNvSpPr txBox="1"/>
          <p:nvPr/>
        </p:nvSpPr>
        <p:spPr>
          <a:xfrm>
            <a:off x="4912521" y="4490497"/>
            <a:ext cx="198160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Фораминальный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стеноз и сдавление нервного корешка</a:t>
            </a:r>
          </a:p>
        </p:txBody>
      </p:sp>
      <p:sp>
        <p:nvSpPr>
          <p:cNvPr id="34" name="Нижний колонтитул 5">
            <a:extLst>
              <a:ext uri="{FF2B5EF4-FFF2-40B4-BE49-F238E27FC236}">
                <a16:creationId xmlns:a16="http://schemas.microsoft.com/office/drawing/2014/main" id="{B1DFA1B3-4FC1-48DD-A563-F55EE0D7B960}"/>
              </a:ext>
            </a:extLst>
          </p:cNvPr>
          <p:cNvSpPr txBox="1">
            <a:spLocks/>
          </p:cNvSpPr>
          <p:nvPr/>
        </p:nvSpPr>
        <p:spPr>
          <a:xfrm>
            <a:off x="695718" y="6356351"/>
            <a:ext cx="1061388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Богачева Л.А. Неврологический журнал, 1997;4:59-62</a:t>
            </a:r>
          </a:p>
        </p:txBody>
      </p:sp>
    </p:spTree>
    <p:extLst>
      <p:ext uri="{BB962C8B-B14F-4D97-AF65-F5344CB8AC3E}">
        <p14:creationId xmlns:p14="http://schemas.microsoft.com/office/powerpoint/2010/main" val="173693657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F759FFF-DC09-9289-D5B6-90CE1721EF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ведение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73BB2420-3629-AC27-F8B0-4BE8EAEEE1A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ru-RU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выше 40 % всех мышечных болевых синдромов </a:t>
            </a:r>
            <a:r>
              <a:rPr lang="ru-RU" sz="2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локализованы</a:t>
            </a:r>
            <a:r>
              <a:rPr lang="ru-RU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в шее, пояснице и конечностях.</a:t>
            </a:r>
          </a:p>
          <a:p>
            <a:r>
              <a:rPr lang="ru-RU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ело человека содержит 200 пар скелетных мышц, каждая из которых богата </a:t>
            </a:r>
            <a:r>
              <a:rPr lang="ru-RU" sz="2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болевыми рецепторами</a:t>
            </a:r>
            <a:r>
              <a:rPr lang="ru-RU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r>
              <a:rPr lang="ru-RU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страя мышечная боль может быть </a:t>
            </a:r>
            <a:r>
              <a:rPr lang="ru-RU" sz="2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имптомом многих заболеваний</a:t>
            </a:r>
            <a:r>
              <a:rPr lang="ru-RU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r>
              <a:rPr lang="ru-RU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енерализованные, двусторонние  </a:t>
            </a:r>
            <a:r>
              <a:rPr lang="ru-RU" sz="2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миолгаии</a:t>
            </a:r>
            <a:r>
              <a:rPr lang="ru-RU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могут сопровождать инфекционные заболевания, например грипп.</a:t>
            </a:r>
          </a:p>
          <a:p>
            <a:r>
              <a:rPr lang="ru-RU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Аутоиммунные заболевания могут вызывать </a:t>
            </a:r>
            <a:r>
              <a:rPr lang="ru-RU" sz="26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миолгии</a:t>
            </a:r>
            <a:endParaRPr lang="ru-RU" sz="2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ем лекарственных препаратов </a:t>
            </a:r>
            <a:r>
              <a:rPr lang="ru-RU" sz="2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ингибиторы АПФ, статины..) вызывают мышечные боли.   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2299214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626E113D-EF57-46DE-9475-312612B0E68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626E113D-EF57-46DE-9475-312612B0E6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9E6582E7-45A6-452A-AAD3-B30D92B0B5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EDA870-630B-4DE6-83FA-C73B4D13AF29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BF1062F-6A63-41A0-AC8C-07825A1A5C2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434183" y="236593"/>
            <a:ext cx="6994525" cy="655637"/>
          </a:xfrm>
        </p:spPr>
        <p:txBody>
          <a:bodyPr vert="horz">
            <a:normAutofit/>
          </a:bodyPr>
          <a:lstStyle/>
          <a:p>
            <a:r>
              <a:rPr lang="ru-RU" sz="2900" dirty="0">
                <a:latin typeface="Arial" panose="020B0604020202020204" pitchFamily="34" charset="0"/>
                <a:cs typeface="Arial" panose="020B0604020202020204" pitchFamily="34" charset="0"/>
              </a:rPr>
              <a:t>Фасеточный синдром (спондилоартроз)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49BE2F3-CDF2-4F2A-A6BE-D9549415088E}"/>
              </a:ext>
            </a:extLst>
          </p:cNvPr>
          <p:cNvSpPr txBox="1"/>
          <p:nvPr/>
        </p:nvSpPr>
        <p:spPr>
          <a:xfrm>
            <a:off x="1081125" y="1059778"/>
            <a:ext cx="1002975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Заболевание, связанное с дегенерацией и поражением фасеточных (межпозвонковых) суставов, проявляющееся болью в спине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5D9F278-F3C6-46D7-90F5-D6FACDD93978}"/>
              </a:ext>
            </a:extLst>
          </p:cNvPr>
          <p:cNvSpPr txBox="1"/>
          <p:nvPr/>
        </p:nvSpPr>
        <p:spPr>
          <a:xfrm>
            <a:off x="1053415" y="3284541"/>
            <a:ext cx="5663117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Факторы риска: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Inter" panose="02000803000000020004" pitchFamily="50" charset="0"/>
                <a:ea typeface="Inter" panose="02000803000000020004" pitchFamily="50" charset="0"/>
                <a:cs typeface="Inter" panose="02000803000000020004" pitchFamily="50" charset="0"/>
              </a:rPr>
              <a:t>Врожденные аномалии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Inter" panose="02000803000000020004" pitchFamily="50" charset="0"/>
                <a:ea typeface="Inter" panose="02000803000000020004" pitchFamily="50" charset="0"/>
                <a:cs typeface="Inter" panose="02000803000000020004" pitchFamily="50" charset="0"/>
              </a:rPr>
              <a:t>Гипермобильность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Inter" panose="02000803000000020004" pitchFamily="50" charset="0"/>
                <a:ea typeface="Inter" panose="02000803000000020004" pitchFamily="50" charset="0"/>
                <a:cs typeface="Inter" panose="02000803000000020004" pitchFamily="50" charset="0"/>
              </a:rPr>
              <a:t> позвоночных сегментов</a:t>
            </a:r>
          </a:p>
          <a:p>
            <a:pPr marL="285750" marR="0" lvl="0" indent="-28575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Inter" panose="02000803000000020004" pitchFamily="50" charset="0"/>
                <a:ea typeface="Inter" panose="02000803000000020004" pitchFamily="50" charset="0"/>
                <a:cs typeface="Inter" panose="02000803000000020004" pitchFamily="50" charset="0"/>
              </a:rPr>
              <a:t>Травмы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24AC1F3A-7781-410C-8B62-23216704A5F4}"/>
              </a:ext>
            </a:extLst>
          </p:cNvPr>
          <p:cNvSpPr/>
          <p:nvPr/>
        </p:nvSpPr>
        <p:spPr>
          <a:xfrm>
            <a:off x="3012031" y="2101819"/>
            <a:ext cx="2852947" cy="65578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жилых людей страдают от фасет-синдрома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93A5F41-A7C7-4005-9AA2-C74E3105BE77}"/>
              </a:ext>
            </a:extLst>
          </p:cNvPr>
          <p:cNvSpPr txBox="1"/>
          <p:nvPr/>
        </p:nvSpPr>
        <p:spPr>
          <a:xfrm>
            <a:off x="1053415" y="2081504"/>
            <a:ext cx="1958616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85-90%</a:t>
            </a:r>
          </a:p>
        </p:txBody>
      </p:sp>
      <p:grpSp>
        <p:nvGrpSpPr>
          <p:cNvPr id="1029" name="Группа 1028"/>
          <p:cNvGrpSpPr/>
          <p:nvPr/>
        </p:nvGrpSpPr>
        <p:grpSpPr>
          <a:xfrm>
            <a:off x="6580166" y="2081504"/>
            <a:ext cx="2894992" cy="2693017"/>
            <a:chOff x="6360160" y="2233007"/>
            <a:chExt cx="2894992" cy="2693017"/>
          </a:xfrm>
        </p:grpSpPr>
        <p:pic>
          <p:nvPicPr>
            <p:cNvPr id="3" name="Рисунок 2"/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6667" t="30994" r="33787" b="31601"/>
            <a:stretch/>
          </p:blipFill>
          <p:spPr>
            <a:xfrm>
              <a:off x="6360160" y="2233007"/>
              <a:ext cx="2894992" cy="2693017"/>
            </a:xfrm>
            <a:prstGeom prst="rect">
              <a:avLst/>
            </a:prstGeom>
          </p:spPr>
        </p:pic>
        <p:cxnSp>
          <p:nvCxnSpPr>
            <p:cNvPr id="15" name="Прямая со стрелкой 14"/>
            <p:cNvCxnSpPr/>
            <p:nvPr/>
          </p:nvCxnSpPr>
          <p:spPr>
            <a:xfrm flipH="1" flipV="1">
              <a:off x="7294880" y="2357120"/>
              <a:ext cx="1442720" cy="5080"/>
            </a:xfrm>
            <a:prstGeom prst="straightConnector1">
              <a:avLst/>
            </a:prstGeom>
            <a:ln w="34925">
              <a:solidFill>
                <a:srgbClr val="5BC0B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Прямая со стрелкой 23"/>
            <p:cNvCxnSpPr/>
            <p:nvPr/>
          </p:nvCxnSpPr>
          <p:spPr>
            <a:xfrm flipH="1">
              <a:off x="8275320" y="2357120"/>
              <a:ext cx="462280" cy="165100"/>
            </a:xfrm>
            <a:prstGeom prst="straightConnector1">
              <a:avLst/>
            </a:prstGeom>
            <a:ln w="34925">
              <a:solidFill>
                <a:srgbClr val="5BC0B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Прямая со стрелкой 24"/>
            <p:cNvCxnSpPr/>
            <p:nvPr/>
          </p:nvCxnSpPr>
          <p:spPr>
            <a:xfrm flipH="1">
              <a:off x="8322425" y="2357120"/>
              <a:ext cx="401320" cy="1363923"/>
            </a:xfrm>
            <a:prstGeom prst="straightConnector1">
              <a:avLst/>
            </a:prstGeom>
            <a:ln w="34925">
              <a:solidFill>
                <a:srgbClr val="5BC0B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Прямая со стрелкой 25"/>
            <p:cNvCxnSpPr/>
            <p:nvPr/>
          </p:nvCxnSpPr>
          <p:spPr>
            <a:xfrm flipH="1">
              <a:off x="8536940" y="3514794"/>
              <a:ext cx="279400" cy="0"/>
            </a:xfrm>
            <a:prstGeom prst="straightConnector1">
              <a:avLst/>
            </a:prstGeom>
            <a:ln w="34925">
              <a:solidFill>
                <a:srgbClr val="5BC0B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Прямая со стрелкой 26"/>
            <p:cNvCxnSpPr/>
            <p:nvPr/>
          </p:nvCxnSpPr>
          <p:spPr>
            <a:xfrm flipH="1">
              <a:off x="7807656" y="4307244"/>
              <a:ext cx="1008684" cy="0"/>
            </a:xfrm>
            <a:prstGeom prst="straightConnector1">
              <a:avLst/>
            </a:prstGeom>
            <a:ln w="34925">
              <a:solidFill>
                <a:srgbClr val="5BC0B2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31" name="Рисунок 103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5275027"/>
            <a:ext cx="12193057" cy="762066"/>
          </a:xfrm>
          <a:prstGeom prst="rect">
            <a:avLst/>
          </a:prstGeom>
        </p:spPr>
      </p:pic>
      <p:pic>
        <p:nvPicPr>
          <p:cNvPr id="1033" name="Рисунок 103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0" y="5275027"/>
            <a:ext cx="2299855" cy="762066"/>
          </a:xfrm>
          <a:prstGeom prst="rect">
            <a:avLst/>
          </a:prstGeom>
        </p:spPr>
      </p:pic>
      <p:pic>
        <p:nvPicPr>
          <p:cNvPr id="1032" name="Рисунок 103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163307" y="5275027"/>
            <a:ext cx="353599" cy="762066"/>
          </a:xfrm>
          <a:prstGeom prst="rect">
            <a:avLst/>
          </a:prstGeom>
        </p:spPr>
      </p:pic>
      <p:sp>
        <p:nvSpPr>
          <p:cNvPr id="1030" name="TextBox 1029"/>
          <p:cNvSpPr txBox="1"/>
          <p:nvPr/>
        </p:nvSpPr>
        <p:spPr>
          <a:xfrm>
            <a:off x="2516906" y="5302117"/>
            <a:ext cx="967509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A06F2A"/>
                </a:solidFill>
                <a:effectLst/>
                <a:uLnTx/>
                <a:uFillTx/>
                <a:latin typeface="Inter" panose="02000803000000020004" pitchFamily="50" charset="0"/>
                <a:ea typeface="Inter" panose="02000803000000020004" pitchFamily="50" charset="0"/>
                <a:cs typeface="Inter" panose="02000803000000020004" pitchFamily="50" charset="0"/>
              </a:rPr>
              <a:t>Артрозные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A06F2A"/>
                </a:solidFill>
                <a:effectLst/>
                <a:uLnTx/>
                <a:uFillTx/>
                <a:latin typeface="Inter" panose="02000803000000020004" pitchFamily="50" charset="0"/>
                <a:ea typeface="Inter" panose="02000803000000020004" pitchFamily="50" charset="0"/>
                <a:cs typeface="Inter" panose="02000803000000020004" pitchFamily="50" charset="0"/>
              </a:rPr>
              <a:t> изменения в позвоночнике могут развиваться уже после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A06F2A"/>
                </a:solidFill>
                <a:effectLst/>
                <a:uLnTx/>
                <a:uFillTx/>
                <a:latin typeface="Inter" panose="02000803000000020004" pitchFamily="50" charset="0"/>
                <a:ea typeface="Inter" panose="02000803000000020004" pitchFamily="50" charset="0"/>
                <a:cs typeface="Inter" panose="02000803000000020004" pitchFamily="50" charset="0"/>
              </a:rPr>
              <a:t>25-30 лет.</a:t>
            </a:r>
          </a:p>
        </p:txBody>
      </p:sp>
      <p:sp>
        <p:nvSpPr>
          <p:cNvPr id="1034" name="TextBox 1033"/>
          <p:cNvSpPr txBox="1"/>
          <p:nvPr/>
        </p:nvSpPr>
        <p:spPr>
          <a:xfrm>
            <a:off x="9400998" y="1765572"/>
            <a:ext cx="237271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ежпозвоночный фасеточный сустав</a:t>
            </a:r>
          </a:p>
        </p:txBody>
      </p:sp>
      <p:sp>
        <p:nvSpPr>
          <p:cNvPr id="1035" name="TextBox 1034"/>
          <p:cNvSpPr txBox="1"/>
          <p:nvPr/>
        </p:nvSpPr>
        <p:spPr>
          <a:xfrm>
            <a:off x="9400998" y="3044905"/>
            <a:ext cx="20356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ежпозвоночный диск</a:t>
            </a:r>
          </a:p>
        </p:txBody>
      </p:sp>
      <p:sp>
        <p:nvSpPr>
          <p:cNvPr id="1036" name="TextBox 1035"/>
          <p:cNvSpPr txBox="1"/>
          <p:nvPr/>
        </p:nvSpPr>
        <p:spPr>
          <a:xfrm>
            <a:off x="9147365" y="4168024"/>
            <a:ext cx="215369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стистый отросток позвонка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577996" y="5440616"/>
            <a:ext cx="145472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АЖНО!</a:t>
            </a:r>
          </a:p>
        </p:txBody>
      </p:sp>
      <p:sp>
        <p:nvSpPr>
          <p:cNvPr id="29" name="Нижний колонтитул 5">
            <a:extLst>
              <a:ext uri="{FF2B5EF4-FFF2-40B4-BE49-F238E27FC236}">
                <a16:creationId xmlns:a16="http://schemas.microsoft.com/office/drawing/2014/main" id="{B1DFA1B3-4FC1-48DD-A563-F55EE0D7B960}"/>
              </a:ext>
            </a:extLst>
          </p:cNvPr>
          <p:cNvSpPr txBox="1">
            <a:spLocks/>
          </p:cNvSpPr>
          <p:nvPr/>
        </p:nvSpPr>
        <p:spPr>
          <a:xfrm>
            <a:off x="1159835" y="6138091"/>
            <a:ext cx="1061388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одымова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И.Г., Данилов А.Б. Регулярные выпуски «РМЖ», 2014;0:47</a:t>
            </a:r>
          </a:p>
        </p:txBody>
      </p:sp>
    </p:spTree>
    <p:extLst>
      <p:ext uri="{BB962C8B-B14F-4D97-AF65-F5344CB8AC3E}">
        <p14:creationId xmlns:p14="http://schemas.microsoft.com/office/powerpoint/2010/main" val="273808499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095217" y="2390057"/>
            <a:ext cx="142699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номальная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грузка </a:t>
            </a:r>
          </a:p>
        </p:txBody>
      </p:sp>
      <p:cxnSp>
        <p:nvCxnSpPr>
          <p:cNvPr id="6" name="Прямая со стрелкой 5"/>
          <p:cNvCxnSpPr/>
          <p:nvPr/>
        </p:nvCxnSpPr>
        <p:spPr>
          <a:xfrm>
            <a:off x="2423039" y="2808747"/>
            <a:ext cx="736579" cy="1051809"/>
          </a:xfrm>
          <a:prstGeom prst="straightConnector1">
            <a:avLst/>
          </a:prstGeom>
          <a:ln w="38100">
            <a:solidFill>
              <a:srgbClr val="53BFB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2225598" y="3857518"/>
            <a:ext cx="75708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еструкция межклеточного матрикса тканей межпозвонкового диска</a:t>
            </a:r>
          </a:p>
        </p:txBody>
      </p:sp>
      <p:cxnSp>
        <p:nvCxnSpPr>
          <p:cNvPr id="11" name="Прямая со стрелкой 10"/>
          <p:cNvCxnSpPr/>
          <p:nvPr/>
        </p:nvCxnSpPr>
        <p:spPr>
          <a:xfrm flipH="1">
            <a:off x="4707780" y="2107948"/>
            <a:ext cx="9403" cy="378779"/>
          </a:xfrm>
          <a:prstGeom prst="straightConnector1">
            <a:avLst/>
          </a:prstGeom>
          <a:ln w="38100">
            <a:solidFill>
              <a:srgbClr val="53BFB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3798614" y="2459529"/>
            <a:ext cx="1816716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рушение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ровоснабжения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иска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907794" y="1524105"/>
            <a:ext cx="142308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«Системное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оспаление»</a:t>
            </a:r>
          </a:p>
        </p:txBody>
      </p:sp>
      <p:cxnSp>
        <p:nvCxnSpPr>
          <p:cNvPr id="16" name="Прямая со стрелкой 15"/>
          <p:cNvCxnSpPr/>
          <p:nvPr/>
        </p:nvCxnSpPr>
        <p:spPr>
          <a:xfrm flipH="1">
            <a:off x="7619335" y="2102179"/>
            <a:ext cx="1" cy="1687449"/>
          </a:xfrm>
          <a:prstGeom prst="straightConnector1">
            <a:avLst/>
          </a:prstGeom>
          <a:ln w="38100">
            <a:solidFill>
              <a:srgbClr val="53BFB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 стрелкой 23"/>
          <p:cNvCxnSpPr/>
          <p:nvPr/>
        </p:nvCxnSpPr>
        <p:spPr>
          <a:xfrm flipH="1">
            <a:off x="8885360" y="3244504"/>
            <a:ext cx="438749" cy="646990"/>
          </a:xfrm>
          <a:prstGeom prst="straightConnector1">
            <a:avLst/>
          </a:prstGeom>
          <a:ln w="38100">
            <a:solidFill>
              <a:srgbClr val="53BFB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34"/>
          <p:cNvCxnSpPr/>
          <p:nvPr/>
        </p:nvCxnSpPr>
        <p:spPr>
          <a:xfrm>
            <a:off x="4717183" y="3290526"/>
            <a:ext cx="3867" cy="499102"/>
          </a:xfrm>
          <a:prstGeom prst="straightConnector1">
            <a:avLst/>
          </a:prstGeom>
          <a:ln w="38100">
            <a:solidFill>
              <a:srgbClr val="53BFB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 стрелкой 40"/>
          <p:cNvCxnSpPr/>
          <p:nvPr/>
        </p:nvCxnSpPr>
        <p:spPr>
          <a:xfrm>
            <a:off x="6169870" y="4106105"/>
            <a:ext cx="8841" cy="513168"/>
          </a:xfrm>
          <a:prstGeom prst="straightConnector1">
            <a:avLst/>
          </a:prstGeom>
          <a:ln w="38100">
            <a:solidFill>
              <a:srgbClr val="53BFB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/>
          <p:cNvSpPr txBox="1"/>
          <p:nvPr/>
        </p:nvSpPr>
        <p:spPr>
          <a:xfrm>
            <a:off x="4054195" y="4486646"/>
            <a:ext cx="423135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ктивация клеток межпозвонкового диска </a:t>
            </a:r>
          </a:p>
        </p:txBody>
      </p:sp>
      <p:cxnSp>
        <p:nvCxnSpPr>
          <p:cNvPr id="46" name="Прямая со стрелкой 45"/>
          <p:cNvCxnSpPr/>
          <p:nvPr/>
        </p:nvCxnSpPr>
        <p:spPr>
          <a:xfrm>
            <a:off x="6178711" y="4764933"/>
            <a:ext cx="0" cy="344377"/>
          </a:xfrm>
          <a:prstGeom prst="straightConnector1">
            <a:avLst/>
          </a:prstGeom>
          <a:ln w="38100">
            <a:solidFill>
              <a:srgbClr val="53BFB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/>
          <p:cNvSpPr txBox="1"/>
          <p:nvPr/>
        </p:nvSpPr>
        <p:spPr>
          <a:xfrm>
            <a:off x="4984417" y="4972566"/>
            <a:ext cx="237090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оспалительный ответ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3286477" y="5513663"/>
            <a:ext cx="5784468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ru-RU"/>
            </a:defPPr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Inter" panose="02000803000000020004" pitchFamily="50" charset="0"/>
                <a:ea typeface="Inter" panose="02000803000000020004" pitchFamily="50" charset="0"/>
                <a:cs typeface="Inter" panose="02000803000000020004" pitchFamily="50" charset="0"/>
              </a:rPr>
              <a:t>Прогрессирование дегенеративно-дистрофического процесса с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Inter" panose="02000803000000020004" pitchFamily="50" charset="0"/>
                <a:ea typeface="Inter" panose="02000803000000020004" pitchFamily="50" charset="0"/>
                <a:cs typeface="Inter" panose="02000803000000020004" pitchFamily="50" charset="0"/>
              </a:rPr>
              <a:t>нарушением </a:t>
            </a:r>
            <a:r>
              <a:rPr kumimoji="0" lang="ru-RU" sz="1600" b="0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Inter" panose="02000803000000020004" pitchFamily="50" charset="0"/>
                <a:ea typeface="Inter" panose="02000803000000020004" pitchFamily="50" charset="0"/>
                <a:cs typeface="Inter" panose="02000803000000020004" pitchFamily="50" charset="0"/>
              </a:rPr>
              <a:t>цитоархитектоники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Inter" panose="02000803000000020004" pitchFamily="50" charset="0"/>
                <a:ea typeface="Inter" panose="02000803000000020004" pitchFamily="50" charset="0"/>
                <a:cs typeface="Inter" panose="02000803000000020004" pitchFamily="50" charset="0"/>
              </a:rPr>
              <a:t> межклеточного матрикса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Inter" panose="02000803000000020004" pitchFamily="50" charset="0"/>
                <a:ea typeface="Inter" panose="02000803000000020004" pitchFamily="50" charset="0"/>
                <a:cs typeface="Inter" panose="02000803000000020004" pitchFamily="50" charset="0"/>
              </a:rPr>
              <a:t>Вовлечение фасеточных суставов с развитием остеоартрита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798605" y="810301"/>
            <a:ext cx="11002745" cy="480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 defTabSz="914216">
              <a:spcBef>
                <a:spcPct val="0"/>
              </a:spcBef>
              <a:buFont typeface="Arial" charset="0"/>
              <a:buNone/>
              <a:defRPr sz="2400">
                <a:solidFill>
                  <a:srgbClr val="10384F">
                    <a:lumMod val="90000"/>
                    <a:lumOff val="10000"/>
                  </a:srgbClr>
                </a:solidFill>
                <a:latin typeface="Arial"/>
                <a:cs typeface="Arial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latin typeface="Calibri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charset="0"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Этиопатогенез дегенеративно-дистрофических изменений МПД</a:t>
            </a:r>
          </a:p>
        </p:txBody>
      </p:sp>
      <p:cxnSp>
        <p:nvCxnSpPr>
          <p:cNvPr id="19" name="Прямая со стрелкой 18"/>
          <p:cNvCxnSpPr/>
          <p:nvPr/>
        </p:nvCxnSpPr>
        <p:spPr>
          <a:xfrm flipH="1">
            <a:off x="6178711" y="5237662"/>
            <a:ext cx="1" cy="365969"/>
          </a:xfrm>
          <a:prstGeom prst="straightConnector1">
            <a:avLst/>
          </a:prstGeom>
          <a:ln w="38100">
            <a:solidFill>
              <a:srgbClr val="53BFB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2791328" y="1517404"/>
            <a:ext cx="386541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рушение проницаемости канальцев замыкательных хрящевых пластинок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8517482" y="2390057"/>
            <a:ext cx="285902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озраст-ассоциированное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рушение синтеза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акромолекул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9B0651-EE4F-4900-A07F-96A6BFA9D0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694297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Рисунок 2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5533326"/>
            <a:ext cx="2453640" cy="762066"/>
          </a:xfrm>
          <a:prstGeom prst="rect">
            <a:avLst/>
          </a:prstGeom>
        </p:spPr>
      </p:pic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D3BABDEE-33C6-4D30-8CF7-84D4736D24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362" imgH="362" progId="TCLayout.ActiveDocument.1">
                  <p:embed/>
                </p:oleObj>
              </mc:Choice>
              <mc:Fallback>
                <p:oleObj name="think-cell Slide" r:id="rId5" imgW="362" imgH="362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D3BABDEE-33C6-4D30-8CF7-84D4736D24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61A3E92-E703-4EE9-B7FB-8B01820A85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EDA870-630B-4DE6-83FA-C73B4D13AF29}" type="slidenum">
              <a:rPr lang="ru-RU" smtClean="0"/>
              <a:t>22</a:t>
            </a:fld>
            <a:endParaRPr lang="ru-RU"/>
          </a:p>
        </p:txBody>
      </p:sp>
      <p:sp>
        <p:nvSpPr>
          <p:cNvPr id="16" name="Заголовок 1">
            <a:extLst>
              <a:ext uri="{FF2B5EF4-FFF2-40B4-BE49-F238E27FC236}">
                <a16:creationId xmlns:a16="http://schemas.microsoft.com/office/drawing/2014/main" id="{CEC4E7C9-801B-4EF5-9A26-56214BE7A76B}"/>
              </a:ext>
            </a:extLst>
          </p:cNvPr>
          <p:cNvSpPr txBox="1">
            <a:spLocks/>
          </p:cNvSpPr>
          <p:nvPr/>
        </p:nvSpPr>
        <p:spPr>
          <a:xfrm>
            <a:off x="4646559" y="737675"/>
            <a:ext cx="2897823" cy="655781"/>
          </a:xfrm>
          <a:prstGeom prst="rect">
            <a:avLst/>
          </a:prstGeom>
        </p:spPr>
        <p:txBody>
          <a:bodyPr vert="horz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900" b="0" dirty="0" err="1">
                <a:latin typeface="Arial" panose="020B0604020202020204" pitchFamily="34" charset="0"/>
                <a:cs typeface="Arial" panose="020B0604020202020204" pitchFamily="34" charset="0"/>
              </a:rPr>
              <a:t>Коморбидность</a:t>
            </a:r>
            <a:endParaRPr lang="ru-RU" sz="29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Нижний колонтитул 3">
            <a:extLst>
              <a:ext uri="{FF2B5EF4-FFF2-40B4-BE49-F238E27FC236}">
                <a16:creationId xmlns:a16="http://schemas.microsoft.com/office/drawing/2014/main" id="{41C37B6C-1A49-491C-8782-CCED422A1803}"/>
              </a:ext>
            </a:extLst>
          </p:cNvPr>
          <p:cNvSpPr txBox="1">
            <a:spLocks/>
          </p:cNvSpPr>
          <p:nvPr/>
        </p:nvSpPr>
        <p:spPr>
          <a:xfrm>
            <a:off x="743770" y="6314224"/>
            <a:ext cx="10474689" cy="32799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l" defTabSz="9144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solidFill>
                  <a:srgbClr val="A06F2A"/>
                </a:solidFill>
              </a:rPr>
              <a:t>Boer AC et al. Arthritis Res </a:t>
            </a:r>
            <a:r>
              <a:rPr lang="en-US" dirty="0" err="1">
                <a:solidFill>
                  <a:srgbClr val="A06F2A"/>
                </a:solidFill>
              </a:rPr>
              <a:t>Ther</a:t>
            </a:r>
            <a:r>
              <a:rPr lang="en-US" dirty="0">
                <a:solidFill>
                  <a:srgbClr val="A06F2A"/>
                </a:solidFill>
              </a:rPr>
              <a:t>. 2018;20:93; Young LM et al. Nutrients. 2019;11(9):2232</a:t>
            </a:r>
            <a:endParaRPr lang="ru-RU" dirty="0">
              <a:solidFill>
                <a:srgbClr val="A06F2A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209ABA3-8856-4BEC-8647-706C901A2B52}"/>
              </a:ext>
            </a:extLst>
          </p:cNvPr>
          <p:cNvSpPr txBox="1"/>
          <p:nvPr/>
        </p:nvSpPr>
        <p:spPr>
          <a:xfrm>
            <a:off x="1540218" y="5070629"/>
            <a:ext cx="494798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Боль связана с постоянным стрессом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1057" y="5536779"/>
            <a:ext cx="12193057" cy="762066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5CD3E6BC-A831-4A26-9783-674F155C6C99}"/>
              </a:ext>
            </a:extLst>
          </p:cNvPr>
          <p:cNvSpPr txBox="1"/>
          <p:nvPr/>
        </p:nvSpPr>
        <p:spPr>
          <a:xfrm>
            <a:off x="2672173" y="5560416"/>
            <a:ext cx="9476514" cy="7349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A06F2A"/>
                </a:solidFill>
                <a:latin typeface="Inter" panose="02000803000000020004" pitchFamily="50" charset="0"/>
                <a:ea typeface="Inter" panose="02000803000000020004" pitchFamily="50" charset="0"/>
                <a:cs typeface="Inter" panose="02000803000000020004" pitchFamily="50" charset="0"/>
              </a:rPr>
              <a:t>Тревожность и подавленное состояние ведут к увеличению продукции провоспалительных цитокинов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312478" y="5529873"/>
            <a:ext cx="359695" cy="774259"/>
          </a:xfrm>
          <a:prstGeom prst="rect">
            <a:avLst/>
          </a:prstGeom>
        </p:spPr>
      </p:pic>
      <p:graphicFrame>
        <p:nvGraphicFramePr>
          <p:cNvPr id="25" name="Схема 24"/>
          <p:cNvGraphicFramePr/>
          <p:nvPr>
            <p:extLst>
              <p:ext uri="{D42A27DB-BD31-4B8C-83A1-F6EECF244321}">
                <p14:modId xmlns:p14="http://schemas.microsoft.com/office/powerpoint/2010/main" val="1358004074"/>
              </p:ext>
            </p:extLst>
          </p:nvPr>
        </p:nvGraphicFramePr>
        <p:xfrm>
          <a:off x="937856" y="1678675"/>
          <a:ext cx="5422002" cy="32252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26" name="TextBox 25"/>
          <p:cNvSpPr txBox="1"/>
          <p:nvPr/>
        </p:nvSpPr>
        <p:spPr>
          <a:xfrm>
            <a:off x="6275141" y="2171672"/>
            <a:ext cx="4838382" cy="2246769"/>
          </a:xfrm>
          <a:prstGeom prst="rect">
            <a:avLst/>
          </a:prstGeom>
          <a:noFill/>
          <a:ln w="38100">
            <a:solidFill>
              <a:srgbClr val="53BFB0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Пациенты с установленным заболеванием с болевым синдромом испытывают больший стресс, а их реакция на </a:t>
            </a:r>
            <a:r>
              <a:rPr lang="ru-RU" sz="2000" dirty="0" err="1">
                <a:latin typeface="Arial" panose="020B0604020202020204" pitchFamily="34" charset="0"/>
                <a:cs typeface="Arial" panose="020B0604020202020204" pitchFamily="34" charset="0"/>
              </a:rPr>
              <a:t>стрессорные</a:t>
            </a:r>
            <a:r>
              <a:rPr lang="ru-RU" sz="2000" dirty="0">
                <a:latin typeface="Arial" panose="020B0604020202020204" pitchFamily="34" charset="0"/>
                <a:cs typeface="Arial" panose="020B0604020202020204" pitchFamily="34" charset="0"/>
              </a:rPr>
              <a:t> факторы нарушена, в особенности, у пациентов с заболеванием в период обострения </a:t>
            </a:r>
          </a:p>
        </p:txBody>
      </p:sp>
    </p:spTree>
    <p:extLst>
      <p:ext uri="{BB962C8B-B14F-4D97-AF65-F5344CB8AC3E}">
        <p14:creationId xmlns:p14="http://schemas.microsoft.com/office/powerpoint/2010/main" val="150557047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B996CDC-9A0B-8A0E-A969-E92625ED04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b="1" dirty="0">
                <a:solidFill>
                  <a:srgbClr val="000000"/>
                </a:solidFill>
                <a:latin typeface="Open Sans" panose="020B0606030504020204" pitchFamily="34" charset="0"/>
              </a:rPr>
              <a:t/>
            </a:r>
            <a:br>
              <a:rPr lang="ru-RU" b="1" dirty="0">
                <a:solidFill>
                  <a:srgbClr val="000000"/>
                </a:solidFill>
                <a:latin typeface="Open Sans" panose="020B0606030504020204" pitchFamily="34" charset="0"/>
              </a:rPr>
            </a:br>
            <a:r>
              <a:rPr lang="ru-RU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тория заболевания</a:t>
            </a:r>
            <a:r>
              <a:rPr lang="ru-RU" b="1" dirty="0">
                <a:solidFill>
                  <a:srgbClr val="000000"/>
                </a:solidFill>
                <a:latin typeface="Open Sans" panose="020B0606030504020204" pitchFamily="34" charset="0"/>
              </a:rPr>
              <a:t/>
            </a:r>
            <a:br>
              <a:rPr lang="ru-RU" b="1" dirty="0">
                <a:solidFill>
                  <a:srgbClr val="000000"/>
                </a:solidFill>
                <a:latin typeface="Open Sans" panose="020B0606030504020204" pitchFamily="34" charset="0"/>
              </a:rPr>
            </a:br>
            <a:endParaRPr lang="ru-RU" dirty="0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7DB55D43-7178-35A6-0234-BE93CEE0CD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35785"/>
            <a:ext cx="10515600" cy="4351338"/>
          </a:xfrm>
        </p:spPr>
        <p:txBody>
          <a:bodyPr>
            <a:normAutofit fontScale="62500" lnSpcReduction="20000"/>
          </a:bodyPr>
          <a:lstStyle/>
          <a:p>
            <a:r>
              <a:rPr lang="ru-RU" sz="4200" b="1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Анамнез заболевания</a:t>
            </a:r>
            <a:r>
              <a:rPr lang="ru-RU" sz="420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 должен включать в себя описание спазмов, сведения об их продолжительности, частоте возникновения, локализации, факторах, провоцирующих их появление, и сопутствующих симптомах. </a:t>
            </a:r>
          </a:p>
          <a:p>
            <a:r>
              <a:rPr lang="ru-RU" sz="420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Симптомы, которые могут быть связаны с неврологическими или мышечными заболеваниями, могут включать в себя ригидность мышц, парез, боль и нарушение чувствительности. </a:t>
            </a:r>
          </a:p>
          <a:p>
            <a:r>
              <a:rPr lang="ru-RU" sz="420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Регистрируются факторы, которые могут приводить к обезвоживанию, электролитным нарушениям или нарушению водного баланса (например, рвота, диарея, интенсивные нагрузки и избыточное потоотделение, недавно проведенный диализ, применение диуретиков, беременность).</a:t>
            </a:r>
          </a:p>
          <a:p>
            <a:pPr marL="0" indent="0">
              <a:buNone/>
            </a:pP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5111500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B996CDC-9A0B-8A0E-A969-E92625ED04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b="1" dirty="0">
                <a:solidFill>
                  <a:srgbClr val="000000"/>
                </a:solidFill>
                <a:latin typeface="Open Sans" panose="020B0606030504020204" pitchFamily="34" charset="0"/>
              </a:rPr>
              <a:t/>
            </a:r>
            <a:br>
              <a:rPr lang="ru-RU" b="1" dirty="0">
                <a:solidFill>
                  <a:srgbClr val="000000"/>
                </a:solidFill>
                <a:latin typeface="Open Sans" panose="020B0606030504020204" pitchFamily="34" charset="0"/>
              </a:rPr>
            </a:br>
            <a:r>
              <a:rPr lang="ru-RU" b="1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тория заболевания</a:t>
            </a:r>
            <a:r>
              <a:rPr lang="ru-RU" b="1" dirty="0">
                <a:solidFill>
                  <a:srgbClr val="000000"/>
                </a:solidFill>
                <a:latin typeface="Open Sans" panose="020B0606030504020204" pitchFamily="34" charset="0"/>
              </a:rPr>
              <a:t/>
            </a:r>
            <a:br>
              <a:rPr lang="ru-RU" b="1" dirty="0">
                <a:solidFill>
                  <a:srgbClr val="000000"/>
                </a:solidFill>
                <a:latin typeface="Open Sans" panose="020B0606030504020204" pitchFamily="34" charset="0"/>
              </a:rPr>
            </a:br>
            <a:endParaRPr lang="ru-RU" dirty="0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7DB55D43-7178-35A6-0234-BE93CEE0CD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35785"/>
            <a:ext cx="10515600" cy="4351338"/>
          </a:xfrm>
        </p:spPr>
        <p:txBody>
          <a:bodyPr>
            <a:normAutofit fontScale="55000" lnSpcReduction="20000"/>
          </a:bodyPr>
          <a:lstStyle/>
          <a:p>
            <a:r>
              <a:rPr lang="ru-RU" sz="4200" b="1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Исследование систем организма</a:t>
            </a:r>
            <a:r>
              <a:rPr lang="ru-RU" sz="420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 должно включать поиск симптомов, указывающих на причину заболевания, в том числе: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ru-RU" sz="4200" u="sng" dirty="0">
                <a:solidFill>
                  <a:srgbClr val="B12E3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  <a:hlinkClick r:id="rId2" tooltip="Аменорея"/>
              </a:rPr>
              <a:t>Аменорея</a:t>
            </a:r>
            <a:r>
              <a:rPr lang="ru-RU" sz="420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 или нарушения менструального цикла: икроножные судороги при беременности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ru-RU" sz="420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Непереносимость холода, набор веса и изменения кожи: </a:t>
            </a:r>
            <a:r>
              <a:rPr lang="ru-RU" sz="4200" u="sng" dirty="0">
                <a:solidFill>
                  <a:srgbClr val="B12E3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  <a:hlinkClick r:id="rId3" tooltip="Гипотиреоз"/>
              </a:rPr>
              <a:t>гипотиреоз</a:t>
            </a:r>
            <a:endParaRPr lang="ru-RU" sz="4200" dirty="0"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ru-RU" sz="4200" u="sng" dirty="0">
                <a:solidFill>
                  <a:srgbClr val="B12E3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  <a:hlinkClick r:id="rId4" tooltip="Слабость"/>
              </a:rPr>
              <a:t>Слабость</a:t>
            </a:r>
            <a:r>
              <a:rPr lang="ru-RU" sz="420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: неврологические нарушения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ru-RU" sz="420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Боль или снижение чувствительности: </a:t>
            </a:r>
            <a:r>
              <a:rPr lang="ru-RU" sz="4200" u="sng" dirty="0">
                <a:solidFill>
                  <a:srgbClr val="B12E3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  <a:hlinkClick r:id="rId5" tooltip="Периферическая нейропатия"/>
              </a:rPr>
              <a:t>периферические нейропатии</a:t>
            </a:r>
            <a:r>
              <a:rPr lang="ru-RU" sz="420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 или </a:t>
            </a:r>
            <a:r>
              <a:rPr lang="ru-RU" sz="4200" u="sng" dirty="0" err="1">
                <a:solidFill>
                  <a:srgbClr val="B12E3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  <a:hlinkClick r:id="rId6" tooltip="Поражения нервных корешков"/>
              </a:rPr>
              <a:t>радикулопатии</a:t>
            </a:r>
            <a:endParaRPr lang="ru-RU" sz="4200" dirty="0"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4200" b="1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Перенесенные заболевания</a:t>
            </a:r>
            <a:r>
              <a:rPr lang="ru-RU" sz="4200" dirty="0"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 могут включать в себя любые заболевания, которые приводят к развитию мышечных спазмов. Собираются подробные сведения о предшествующем лечении, а также об употреблении алкоголя.</a:t>
            </a:r>
          </a:p>
          <a:p>
            <a:pPr marL="0" indent="0">
              <a:buNone/>
            </a:pP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6876802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F961765-4EC5-5D1D-4323-3894FCB320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40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ревожными являются следующие симптомы</a:t>
            </a:r>
            <a:endParaRPr lang="ru-RU" sz="40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B3D4FB50-94B4-4996-C3B5-0DEF144CC97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l">
              <a:buFont typeface="Arial" panose="020B0604020202020204" pitchFamily="34" charset="0"/>
              <a:buChar char="•"/>
            </a:pPr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Вовлечение в патологический процесс верхних конечностей или туловища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ru-RU" b="0" i="0" dirty="0" err="1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Гиперрефлексия</a:t>
            </a:r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или </a:t>
            </a:r>
            <a:r>
              <a:rPr lang="ru-RU" b="0" i="0" dirty="0" err="1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гипорефлексия</a:t>
            </a:r>
            <a:endParaRPr lang="ru-RU" b="0" i="0" dirty="0">
              <a:solidFill>
                <a:srgbClr val="000000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Мышечная слабость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ru-RU" b="0" i="0" dirty="0" err="1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Фасцикуляции</a:t>
            </a:r>
            <a:endParaRPr lang="ru-RU" b="0" i="0" dirty="0">
              <a:solidFill>
                <a:srgbClr val="000000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Признаки алкоголизма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Гиповолемия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Боль или снижение чувствительности в зоне иннервации периферического нерва, сплетения или корешка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0879618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E7C36F-438D-EBC6-49E8-2ABC423729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b="1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/>
            </a:r>
            <a:br>
              <a:rPr lang="ru-RU" b="1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</a:br>
            <a:r>
              <a:rPr lang="ru-RU" b="1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Интерпретация результатов</a:t>
            </a:r>
            <a:br>
              <a:rPr lang="ru-RU" b="1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AFB2ADB4-355E-5F57-2DF9-2EB6622F9B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l"/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Очаговые судороги указывают на доброкачественные идиопатические икроножные судороги, мышечные судороги при физической нагрузке, мышечно-скелетные аномалии, причины со стороны периферической нервной системы или раннее дегенеративное заболевание, которое может быть асимметричным, таким, как патология двигательного нейрона.</a:t>
            </a:r>
          </a:p>
          <a:p>
            <a:pPr algn="l"/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Очаговое снижение рефлексов может указывать на периферическую нейропатию, </a:t>
            </a:r>
            <a:r>
              <a:rPr lang="ru-RU" b="0" i="0" dirty="0" err="1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плексопатию</a:t>
            </a:r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или </a:t>
            </a:r>
            <a:r>
              <a:rPr lang="ru-RU" b="0" i="0" dirty="0" err="1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радикулопатию</a:t>
            </a:r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9397577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E7C36F-438D-EBC6-49E8-2ABC423729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b="1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/>
            </a:r>
            <a:br>
              <a:rPr lang="ru-RU" b="1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</a:br>
            <a:r>
              <a:rPr lang="ru-RU" b="1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Интерпретация результатов</a:t>
            </a:r>
            <a:r>
              <a:rPr lang="ru-RU" b="1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  <a:t/>
            </a:r>
            <a:br>
              <a:rPr lang="ru-RU" b="1" i="0" dirty="0">
                <a:solidFill>
                  <a:srgbClr val="000000"/>
                </a:solidFill>
                <a:effectLst/>
                <a:latin typeface="Open Sans" panose="020B0606030504020204" pitchFamily="34" charset="0"/>
              </a:rPr>
            </a:br>
            <a:endParaRPr lang="ru-RU" dirty="0"/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AFB2ADB4-355E-5F57-2DF9-2EB6622F9B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algn="l"/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У пациентов с диффузными мышечными спазмами (особенно у пациентов с тремором) повышение рефлексов позволяет заподозрить системную причину (например, снижение уровня ионизированного кальция; в ряде случаев – алкоголизм, патологию </a:t>
            </a:r>
            <a:r>
              <a:rPr lang="ru-RU" b="0" i="0" dirty="0" err="1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мотонейронов</a:t>
            </a:r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или прием лекарственных средств, хотя влияние на глубокие сухожильные рефлексы может зависеть от препарата). </a:t>
            </a:r>
          </a:p>
          <a:p>
            <a:pPr algn="l"/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Диффузное снижение рефлексов может указывать на </a:t>
            </a:r>
            <a:r>
              <a:rPr lang="ru-RU" b="0" i="0" dirty="0" err="1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гипотиреоидизм</a:t>
            </a:r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или, в ряде случаев, встречаться при алкоголизме, может отмечаться и в норме, особенно у пожилых людей.</a:t>
            </a:r>
          </a:p>
          <a:p>
            <a:pPr algn="l"/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Нормальное результаты обследования в совокупности с соответствующим анамнезом указывают на доброкачественные идиопатические икроножные судороги или мышечные судороги при физической нагрузке.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614660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A0E8751-EC36-0172-107C-A38C84892A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Лечение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5CD16C81-B735-B2C3-B492-9B6E65DCB0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algn="l">
              <a:buFont typeface="Arial" panose="020B0604020202020204" pitchFamily="34" charset="0"/>
              <a:buChar char="•"/>
            </a:pPr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Растягивание</a:t>
            </a:r>
          </a:p>
          <a:p>
            <a:pPr algn="l"/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При диагностике основного заболевания, применяются меры по его излечению.</a:t>
            </a:r>
          </a:p>
          <a:p>
            <a:pPr algn="l"/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При спазме растяжение пораженных мышц часто снимает его. Например, при спазме мышц голени пациент может разогнуть стопу и пальцы кверху (</a:t>
            </a:r>
            <a:r>
              <a:rPr lang="ru-RU" b="0" i="0" dirty="0" err="1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дорсифлексия</a:t>
            </a:r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) с помощью рук.</a:t>
            </a:r>
          </a:p>
          <a:p>
            <a:pPr algn="l"/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Облегчить боль помогут тепло (например, с помощью теплого полотенца или электрогрелки, принятие теплой ванны или душа) или холод (например, массаж пораженной мышцы льдом).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1159168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FD8CDFBF-E500-4A4F-BAF7-018DDCCD9B8A}"/>
              </a:ext>
            </a:extLst>
          </p:cNvPr>
          <p:cNvSpPr txBox="1"/>
          <p:nvPr/>
        </p:nvSpPr>
        <p:spPr>
          <a:xfrm>
            <a:off x="859236" y="228454"/>
            <a:ext cx="11276825" cy="46166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ru-RU"/>
            </a:defPPr>
            <a:lvl1pPr marR="0" lvl="0" indent="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-40" normalizeH="0" baseline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-4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+mj-cs"/>
              </a:rPr>
              <a:t>Двухэтапная терапия ОА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72455B77-24A4-4298-8E98-1C52DE8CEA60}"/>
              </a:ext>
            </a:extLst>
          </p:cNvPr>
          <p:cNvSpPr/>
          <p:nvPr/>
        </p:nvSpPr>
        <p:spPr>
          <a:xfrm>
            <a:off x="938584" y="843256"/>
            <a:ext cx="10861530" cy="819965"/>
          </a:xfrm>
          <a:prstGeom prst="rect">
            <a:avLst/>
          </a:prstGeom>
          <a:solidFill>
            <a:srgbClr val="EEECE1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Arial Unicode MS" panose="020B0604020202020204" pitchFamily="34" charset="-128"/>
                <a:cs typeface="+mn-cs"/>
              </a:rPr>
              <a:t>Патофизиологические процессы при ОА запускают «порочный круг» заболевания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Arial Unicode MS" panose="020B0604020202020204" pitchFamily="34" charset="-128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+mn-cs"/>
              </a:rPr>
              <a:t>Только купировать боль и воспаление недостаточно, т.к. в хряще продолжаются дегенеративные процессы, что вновь провоцирует воспалительные процессы и усугубляет течение ОА</a:t>
            </a: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Arial Unicode MS" panose="020B0604020202020204" pitchFamily="34" charset="-128"/>
              <a:cs typeface="+mn-cs"/>
            </a:endParaRPr>
          </a:p>
        </p:txBody>
      </p:sp>
      <p:grpSp>
        <p:nvGrpSpPr>
          <p:cNvPr id="35" name="Группа 34">
            <a:extLst>
              <a:ext uri="{FF2B5EF4-FFF2-40B4-BE49-F238E27FC236}">
                <a16:creationId xmlns:a16="http://schemas.microsoft.com/office/drawing/2014/main" id="{0883C4CE-6A19-4B39-93C6-41079475FBEB}"/>
              </a:ext>
            </a:extLst>
          </p:cNvPr>
          <p:cNvGrpSpPr/>
          <p:nvPr/>
        </p:nvGrpSpPr>
        <p:grpSpPr>
          <a:xfrm>
            <a:off x="3752346" y="1959369"/>
            <a:ext cx="4953630" cy="4817260"/>
            <a:chOff x="3482381" y="1959369"/>
            <a:chExt cx="4953630" cy="4817260"/>
          </a:xfrm>
        </p:grpSpPr>
        <p:grpSp>
          <p:nvGrpSpPr>
            <p:cNvPr id="16" name="Группа 15">
              <a:extLst>
                <a:ext uri="{FF2B5EF4-FFF2-40B4-BE49-F238E27FC236}">
                  <a16:creationId xmlns:a16="http://schemas.microsoft.com/office/drawing/2014/main" id="{64583FF3-B8A6-4790-ACCC-FC0D1AAD7209}"/>
                </a:ext>
              </a:extLst>
            </p:cNvPr>
            <p:cNvGrpSpPr/>
            <p:nvPr/>
          </p:nvGrpSpPr>
          <p:grpSpPr>
            <a:xfrm>
              <a:off x="3588903" y="1959369"/>
              <a:ext cx="4847108" cy="4817260"/>
              <a:chOff x="2249555" y="2053547"/>
              <a:chExt cx="4847108" cy="4817260"/>
            </a:xfrm>
          </p:grpSpPr>
          <p:sp>
            <p:nvSpPr>
              <p:cNvPr id="4" name="Овал 3">
                <a:extLst>
                  <a:ext uri="{FF2B5EF4-FFF2-40B4-BE49-F238E27FC236}">
                    <a16:creationId xmlns:a16="http://schemas.microsoft.com/office/drawing/2014/main" id="{B694E3F3-ABCC-4214-A255-FA2BD8BEA97A}"/>
                  </a:ext>
                </a:extLst>
              </p:cNvPr>
              <p:cNvSpPr/>
              <p:nvPr/>
            </p:nvSpPr>
            <p:spPr>
              <a:xfrm>
                <a:off x="2249555" y="2053547"/>
                <a:ext cx="4847108" cy="4817260"/>
              </a:xfrm>
              <a:prstGeom prst="ellipse">
                <a:avLst/>
              </a:prstGeom>
              <a:gradFill flip="none" rotWithShape="1">
                <a:gsLst>
                  <a:gs pos="0">
                    <a:srgbClr val="DDA687">
                      <a:tint val="66000"/>
                      <a:satMod val="160000"/>
                    </a:srgbClr>
                  </a:gs>
                  <a:gs pos="50000">
                    <a:srgbClr val="DDA687">
                      <a:tint val="44500"/>
                      <a:satMod val="160000"/>
                    </a:srgbClr>
                  </a:gs>
                  <a:gs pos="100000">
                    <a:srgbClr val="DDA687">
                      <a:tint val="23500"/>
                      <a:satMod val="160000"/>
                    </a:srgbClr>
                  </a:gs>
                </a:gsLst>
                <a:path path="circle">
                  <a:fillToRect l="100000" t="100000"/>
                </a:path>
                <a:tileRect r="-100000" b="-10000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5" name="Овал 4">
                <a:extLst>
                  <a:ext uri="{FF2B5EF4-FFF2-40B4-BE49-F238E27FC236}">
                    <a16:creationId xmlns:a16="http://schemas.microsoft.com/office/drawing/2014/main" id="{20B5B5F3-8E46-4062-9EC2-C59499DF93C3}"/>
                  </a:ext>
                </a:extLst>
              </p:cNvPr>
              <p:cNvSpPr/>
              <p:nvPr/>
            </p:nvSpPr>
            <p:spPr>
              <a:xfrm>
                <a:off x="3449750" y="3267166"/>
                <a:ext cx="2446719" cy="2390023"/>
              </a:xfrm>
              <a:prstGeom prst="ellipse">
                <a:avLst/>
              </a:prstGeom>
              <a:solidFill>
                <a:schemeClr val="bg1"/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827421C7-1CD3-4EB7-9CE0-C67DD3FCD7C0}"/>
                </a:ext>
              </a:extLst>
            </p:cNvPr>
            <p:cNvSpPr txBox="1"/>
            <p:nvPr/>
          </p:nvSpPr>
          <p:spPr>
            <a:xfrm>
              <a:off x="4868163" y="2421647"/>
              <a:ext cx="2112117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Повреждение хряща, 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связок, костей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C88BC94D-44B4-4CE6-AADD-C1FA90030766}"/>
                </a:ext>
              </a:extLst>
            </p:cNvPr>
            <p:cNvSpPr txBox="1"/>
            <p:nvPr/>
          </p:nvSpPr>
          <p:spPr>
            <a:xfrm>
              <a:off x="3495638" y="3182711"/>
              <a:ext cx="1386725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ru-RU"/>
              </a:defPPr>
              <a:lvl1pPr algn="ctr">
                <a:defRPr sz="1200"/>
              </a:lvl1pPr>
            </a:lstStyle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Деструкция </a:t>
              </a:r>
            </a:p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матрикса хряща,</a:t>
              </a:r>
            </a:p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гибель</a:t>
              </a:r>
            </a:p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хондроцитов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5C6F14C5-B503-43BB-93AC-160A56537EED}"/>
                </a:ext>
              </a:extLst>
            </p:cNvPr>
            <p:cNvSpPr txBox="1"/>
            <p:nvPr/>
          </p:nvSpPr>
          <p:spPr>
            <a:xfrm>
              <a:off x="3482381" y="4934174"/>
              <a:ext cx="1694438" cy="83099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ru-RU"/>
              </a:defPPr>
              <a:lvl1pPr algn="ctr">
                <a:defRPr sz="1200"/>
              </a:lvl1pPr>
            </a:lstStyle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Нарушение состава, </a:t>
              </a:r>
            </a:p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снижение вязкости </a:t>
              </a:r>
            </a:p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синовиальной</a:t>
              </a:r>
            </a:p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жидкости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CA7E8575-6C4E-4755-951D-C3AB941F0479}"/>
                </a:ext>
              </a:extLst>
            </p:cNvPr>
            <p:cNvSpPr txBox="1"/>
            <p:nvPr/>
          </p:nvSpPr>
          <p:spPr>
            <a:xfrm>
              <a:off x="4683760" y="5938987"/>
              <a:ext cx="2657394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ru-RU"/>
              </a:defPPr>
              <a:lvl1pPr algn="ctr">
                <a:defRPr sz="1200"/>
              </a:lvl1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Синовиальное воспаление 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и ангиогенез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4C85D6C2-E140-49AA-9987-0A1800CD6030}"/>
                </a:ext>
              </a:extLst>
            </p:cNvPr>
            <p:cNvSpPr txBox="1"/>
            <p:nvPr/>
          </p:nvSpPr>
          <p:spPr>
            <a:xfrm>
              <a:off x="7235817" y="4848499"/>
              <a:ext cx="836768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ru-RU"/>
              </a:defPPr>
              <a:lvl1pPr algn="ctr">
                <a:defRPr sz="1200"/>
              </a:lvl1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Болевой 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синдром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59EA569-89F3-4AF7-82AE-430E88C6FE0E}"/>
                </a:ext>
              </a:extLst>
            </p:cNvPr>
            <p:cNvSpPr txBox="1"/>
            <p:nvPr/>
          </p:nvSpPr>
          <p:spPr>
            <a:xfrm>
              <a:off x="7230747" y="3126935"/>
              <a:ext cx="1195328" cy="10156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ru-RU"/>
              </a:defPPr>
              <a:lvl1pPr algn="ctr">
                <a:defRPr sz="1200"/>
              </a:lvl1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Снижение 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двигательной 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активности, 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мышечной 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Arial Unicode MS" panose="020B0604020202020204" pitchFamily="34" charset="-128"/>
                  <a:cs typeface="Arial" panose="020B0604020202020204" pitchFamily="34" charset="0"/>
                </a:rPr>
                <a:t>силы</a:t>
              </a:r>
            </a:p>
          </p:txBody>
        </p:sp>
        <p:cxnSp>
          <p:nvCxnSpPr>
            <p:cNvPr id="18" name="Прямая со стрелкой 17">
              <a:extLst>
                <a:ext uri="{FF2B5EF4-FFF2-40B4-BE49-F238E27FC236}">
                  <a16:creationId xmlns:a16="http://schemas.microsoft.com/office/drawing/2014/main" id="{4339ECBB-1426-4DDD-94F2-8C91887E33B4}"/>
                </a:ext>
              </a:extLst>
            </p:cNvPr>
            <p:cNvCxnSpPr/>
            <p:nvPr/>
          </p:nvCxnSpPr>
          <p:spPr>
            <a:xfrm flipH="1">
              <a:off x="4789098" y="2944867"/>
              <a:ext cx="244456" cy="23784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Прямая со стрелкой 18">
              <a:extLst>
                <a:ext uri="{FF2B5EF4-FFF2-40B4-BE49-F238E27FC236}">
                  <a16:creationId xmlns:a16="http://schemas.microsoft.com/office/drawing/2014/main" id="{0E5F92E6-FCC0-41AE-AE42-5AC84E0EF0F1}"/>
                </a:ext>
              </a:extLst>
            </p:cNvPr>
            <p:cNvCxnSpPr>
              <a:cxnSpLocks/>
            </p:cNvCxnSpPr>
            <p:nvPr/>
          </p:nvCxnSpPr>
          <p:spPr>
            <a:xfrm>
              <a:off x="4267686" y="4103840"/>
              <a:ext cx="0" cy="744659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Прямая со стрелкой 20">
              <a:extLst>
                <a:ext uri="{FF2B5EF4-FFF2-40B4-BE49-F238E27FC236}">
                  <a16:creationId xmlns:a16="http://schemas.microsoft.com/office/drawing/2014/main" id="{2B89FAF9-0A72-4BFD-85BF-BB9877412D30}"/>
                </a:ext>
              </a:extLst>
            </p:cNvPr>
            <p:cNvCxnSpPr>
              <a:cxnSpLocks/>
            </p:cNvCxnSpPr>
            <p:nvPr/>
          </p:nvCxnSpPr>
          <p:spPr>
            <a:xfrm>
              <a:off x="5033554" y="5733157"/>
              <a:ext cx="435429" cy="24713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Прямая со стрелкой 23">
              <a:extLst>
                <a:ext uri="{FF2B5EF4-FFF2-40B4-BE49-F238E27FC236}">
                  <a16:creationId xmlns:a16="http://schemas.microsoft.com/office/drawing/2014/main" id="{243AFE1E-D796-4A3D-9AD4-53B80A6B4CC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723019" y="5349672"/>
              <a:ext cx="618135" cy="589315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Прямая со стрелкой 26">
              <a:extLst>
                <a:ext uri="{FF2B5EF4-FFF2-40B4-BE49-F238E27FC236}">
                  <a16:creationId xmlns:a16="http://schemas.microsoft.com/office/drawing/2014/main" id="{0E29AA64-0578-4F29-BB72-8FA038F56DF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654201" y="4188651"/>
              <a:ext cx="0" cy="592355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Прямая со стрелкой 29">
              <a:extLst>
                <a:ext uri="{FF2B5EF4-FFF2-40B4-BE49-F238E27FC236}">
                  <a16:creationId xmlns:a16="http://schemas.microsoft.com/office/drawing/2014/main" id="{9CB98431-B205-408A-B26A-F74CEA827E5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6853020" y="2786743"/>
              <a:ext cx="581399" cy="32827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48FD692F-F653-45BF-BC19-A15B41A5EF7E}"/>
              </a:ext>
            </a:extLst>
          </p:cNvPr>
          <p:cNvSpPr txBox="1"/>
          <p:nvPr/>
        </p:nvSpPr>
        <p:spPr>
          <a:xfrm>
            <a:off x="937157" y="1847158"/>
            <a:ext cx="2709852" cy="4601260"/>
          </a:xfrm>
          <a:prstGeom prst="rect">
            <a:avLst/>
          </a:prstGeom>
          <a:solidFill>
            <a:srgbClr val="C00000">
              <a:alpha val="41000"/>
            </a:srgb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1" u="none" strike="noStrike" kern="1200" cap="none" spc="0" normalizeH="0" baseline="0" noProof="0" dirty="0">
                <a:ln>
                  <a:noFill/>
                </a:ln>
                <a:solidFill>
                  <a:srgbClr val="79490F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Этап 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1" u="none" strike="noStrike" kern="1200" cap="none" spc="0" normalizeH="0" baseline="0" noProof="0" dirty="0">
              <a:ln>
                <a:noFill/>
              </a:ln>
              <a:solidFill>
                <a:srgbClr val="79490F"/>
              </a:solidFill>
              <a:effectLst/>
              <a:uLnTx/>
              <a:uFillTx/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1" u="none" strike="noStrike" kern="1200" cap="none" spc="0" normalizeH="0" baseline="0" noProof="0" dirty="0">
              <a:ln>
                <a:noFill/>
              </a:ln>
              <a:solidFill>
                <a:srgbClr val="79490F"/>
              </a:solidFill>
              <a:effectLst/>
              <a:uLnTx/>
              <a:uFillTx/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1" u="none" strike="noStrike" kern="1200" cap="none" spc="0" normalizeH="0" baseline="0" noProof="0" dirty="0">
                <a:ln>
                  <a:noFill/>
                </a:ln>
                <a:solidFill>
                  <a:srgbClr val="79490F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Задачи 1 этапа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1" u="none" strike="noStrike" kern="1200" cap="none" spc="0" normalizeH="0" baseline="0" noProof="0" dirty="0">
              <a:ln>
                <a:noFill/>
              </a:ln>
              <a:solidFill>
                <a:srgbClr val="79490F"/>
              </a:solidFill>
              <a:effectLst/>
              <a:uLnTx/>
              <a:uFillTx/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1" u="none" strike="noStrike" kern="1200" cap="none" spc="0" normalizeH="0" baseline="0" noProof="0" dirty="0">
                <a:ln>
                  <a:noFill/>
                </a:ln>
                <a:solidFill>
                  <a:srgbClr val="79490F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Максимально эффективно </a:t>
            </a:r>
            <a:r>
              <a:rPr kumimoji="0" lang="ru-RU" sz="1600" b="1" i="1" u="none" strike="noStrike" kern="1200" cap="none" spc="0" normalizeH="0" baseline="0" noProof="0" dirty="0">
                <a:ln>
                  <a:noFill/>
                </a:ln>
                <a:solidFill>
                  <a:srgbClr val="79490F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купировать болевой синдром и воспаление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600" b="0" i="1" u="none" strike="noStrike" kern="1200" cap="none" spc="0" normalizeH="0" baseline="0" noProof="0" dirty="0">
              <a:ln>
                <a:noFill/>
              </a:ln>
              <a:solidFill>
                <a:srgbClr val="79490F"/>
              </a:solidFill>
              <a:effectLst/>
              <a:uLnTx/>
              <a:uFillTx/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1" u="none" strike="noStrike" kern="1200" cap="none" spc="0" normalizeH="0" baseline="0" noProof="0" dirty="0">
                <a:ln>
                  <a:noFill/>
                </a:ln>
                <a:solidFill>
                  <a:srgbClr val="79490F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Начать </a:t>
            </a:r>
            <a:r>
              <a:rPr kumimoji="0" lang="ru-RU" sz="1600" b="1" i="1" u="none" strike="noStrike" kern="1200" cap="none" spc="0" normalizeH="0" baseline="0" noProof="0" dirty="0">
                <a:ln>
                  <a:noFill/>
                </a:ln>
                <a:solidFill>
                  <a:srgbClr val="79490F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восстановление хрящевой ткани</a:t>
            </a:r>
            <a:r>
              <a:rPr kumimoji="0" lang="ru-RU" sz="1600" b="0" i="1" u="none" strike="noStrike" kern="1200" cap="none" spc="0" normalizeH="0" baseline="0" noProof="0" dirty="0">
                <a:ln>
                  <a:noFill/>
                </a:ln>
                <a:solidFill>
                  <a:srgbClr val="79490F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, чтобы разорвать звенья порочного круга ОА</a:t>
            </a:r>
            <a:endParaRPr kumimoji="0" lang="ru-RU" sz="1500" b="0" i="1" u="none" strike="noStrike" kern="1200" cap="none" spc="0" normalizeH="0" baseline="0" noProof="0" dirty="0">
              <a:ln>
                <a:noFill/>
              </a:ln>
              <a:solidFill>
                <a:srgbClr val="79490F"/>
              </a:solidFill>
              <a:effectLst/>
              <a:uLnTx/>
              <a:uFillTx/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500" b="0" i="1" u="none" strike="noStrike" kern="1200" cap="none" spc="0" normalizeH="0" baseline="0" noProof="0" dirty="0">
              <a:ln>
                <a:noFill/>
              </a:ln>
              <a:solidFill>
                <a:srgbClr val="79490F"/>
              </a:solidFill>
              <a:effectLst/>
              <a:uLnTx/>
              <a:uFillTx/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95A3784E-653A-48CE-A9F5-6C3B53832F0D}"/>
              </a:ext>
            </a:extLst>
          </p:cNvPr>
          <p:cNvSpPr txBox="1"/>
          <p:nvPr/>
        </p:nvSpPr>
        <p:spPr>
          <a:xfrm>
            <a:off x="8965546" y="1847158"/>
            <a:ext cx="2713272" cy="4524315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1" u="none" strike="noStrike" kern="1200" cap="none" spc="0" normalizeH="0" baseline="0" noProof="0" dirty="0">
                <a:ln>
                  <a:noFill/>
                </a:ln>
                <a:solidFill>
                  <a:srgbClr val="79490F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Этап 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500" b="1" i="1" u="none" strike="noStrike" kern="1200" cap="none" spc="0" normalizeH="0" baseline="0" noProof="0" dirty="0">
              <a:ln>
                <a:noFill/>
              </a:ln>
              <a:solidFill>
                <a:srgbClr val="79490F"/>
              </a:solidFill>
              <a:effectLst/>
              <a:uLnTx/>
              <a:uFillTx/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500" b="1" i="1" u="none" strike="noStrike" kern="1200" cap="none" spc="0" normalizeH="0" baseline="0" noProof="0" dirty="0">
              <a:ln>
                <a:noFill/>
              </a:ln>
              <a:solidFill>
                <a:srgbClr val="79490F"/>
              </a:solidFill>
              <a:effectLst/>
              <a:uLnTx/>
              <a:uFillTx/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0" i="1" u="none" strike="noStrike" kern="1200" cap="none" spc="0" normalizeH="0" baseline="0" noProof="0" dirty="0">
                <a:ln>
                  <a:noFill/>
                </a:ln>
                <a:solidFill>
                  <a:srgbClr val="79490F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На втором этапе важно продолжить интенсивное восстановление хрящевой ткани – патогенетическуюю терапию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500" b="0" i="1" u="none" strike="noStrike" kern="1200" cap="none" spc="0" normalizeH="0" baseline="0" noProof="0" dirty="0">
              <a:ln>
                <a:noFill/>
              </a:ln>
              <a:solidFill>
                <a:srgbClr val="79490F"/>
              </a:solidFill>
              <a:effectLst/>
              <a:uLnTx/>
              <a:uFillTx/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0" i="1" u="none" strike="noStrike" kern="1200" cap="none" spc="0" normalizeH="0" baseline="0" noProof="0" dirty="0">
                <a:ln>
                  <a:noFill/>
                </a:ln>
                <a:solidFill>
                  <a:srgbClr val="79490F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Тем самым сократить или избежать обострений  ОА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500" b="0" i="1" u="none" strike="noStrike" kern="1200" cap="none" spc="0" normalizeH="0" baseline="0" noProof="0" dirty="0">
              <a:ln>
                <a:noFill/>
              </a:ln>
              <a:solidFill>
                <a:srgbClr val="79490F"/>
              </a:solidFill>
              <a:effectLst/>
              <a:uLnTx/>
              <a:uFillTx/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500" b="0" i="1" u="none" strike="noStrike" kern="1200" cap="none" spc="0" normalizeH="0" baseline="0" noProof="0" dirty="0">
              <a:ln>
                <a:noFill/>
              </a:ln>
              <a:solidFill>
                <a:srgbClr val="79490F"/>
              </a:solidFill>
              <a:effectLst/>
              <a:uLnTx/>
              <a:uFillTx/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500" b="0" i="1" u="none" strike="noStrike" kern="1200" cap="none" spc="0" normalizeH="0" baseline="0" noProof="0" dirty="0">
              <a:ln>
                <a:noFill/>
              </a:ln>
              <a:solidFill>
                <a:srgbClr val="79490F"/>
              </a:solidFill>
              <a:effectLst/>
              <a:uLnTx/>
              <a:uFillTx/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500" b="0" i="1" u="none" strike="noStrike" kern="1200" cap="none" spc="0" normalizeH="0" baseline="0" noProof="0" dirty="0">
              <a:ln>
                <a:noFill/>
              </a:ln>
              <a:solidFill>
                <a:srgbClr val="79490F"/>
              </a:solidFill>
              <a:effectLst/>
              <a:uLnTx/>
              <a:uFillTx/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500" b="0" i="1" u="none" strike="noStrike" kern="1200" cap="none" spc="0" normalizeH="0" baseline="0" noProof="0" dirty="0">
              <a:ln>
                <a:noFill/>
              </a:ln>
              <a:solidFill>
                <a:srgbClr val="79490F"/>
              </a:solidFill>
              <a:effectLst/>
              <a:uLnTx/>
              <a:uFillTx/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500" b="0" i="1" u="none" strike="noStrike" kern="1200" cap="none" spc="0" normalizeH="0" baseline="0" noProof="0" dirty="0">
              <a:ln>
                <a:noFill/>
              </a:ln>
              <a:solidFill>
                <a:srgbClr val="79490F"/>
              </a:solidFill>
              <a:effectLst/>
              <a:uLnTx/>
              <a:uFillTx/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500" b="0" i="1" u="none" strike="noStrike" kern="1200" cap="none" spc="0" normalizeH="0" baseline="0" noProof="0" dirty="0">
              <a:ln>
                <a:noFill/>
              </a:ln>
              <a:solidFill>
                <a:srgbClr val="79490F"/>
              </a:solidFill>
              <a:effectLst/>
              <a:uLnTx/>
              <a:uFillTx/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23935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9DAAA6E-F0D3-ECB2-55A9-9D9D5DEB3E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Имитировать мышечные спазмы могут другие заболевания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02657108-51CD-CD51-4083-64FC5CCCC8F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77500" lnSpcReduction="20000"/>
          </a:bodyPr>
          <a:lstStyle/>
          <a:p>
            <a:pPr marL="0" indent="0" algn="l">
              <a:buNone/>
            </a:pPr>
            <a:endParaRPr lang="ru-RU" b="1" u="sng" dirty="0">
              <a:solidFill>
                <a:srgbClr val="B12E32"/>
              </a:solidFill>
              <a:latin typeface="Open Sans" panose="020B0606030504020204" pitchFamily="34" charset="0"/>
            </a:endParaRPr>
          </a:p>
          <a:p>
            <a:pPr algn="l">
              <a:buFont typeface="Arial" panose="020B0604020202020204" pitchFamily="34" charset="0"/>
              <a:buChar char="•"/>
            </a:pPr>
            <a:r>
              <a:rPr lang="ru-RU" b="1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Дистония</a:t>
            </a:r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может быть причиной мышечных спазмов, однако в этом случае симптомы более стойкие, рецидивирующие, вовлекаются и другие мышцы, помимо типичного поражения мышц при икроножных судорогах (например, мышцы шеи, рук, лица и туловища)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</a:t>
            </a:r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огут наблюдаться и изолированные </a:t>
            </a:r>
            <a:r>
              <a:rPr lang="ru-RU" b="0" i="0" dirty="0" err="1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карпопедальные</a:t>
            </a:r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спазмы. 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Мышечные спазмы наблюдаются при </a:t>
            </a:r>
            <a:r>
              <a:rPr lang="ru-RU" b="1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тетании</a:t>
            </a:r>
            <a:r>
              <a:rPr lang="ru-RU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В</a:t>
            </a:r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этом случае спазмы обычно более стойкие (часто с сильными повторяющимися судорогами), развиваются с двух сторон и распространяются диффузно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ru-RU" b="1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Ишемия мышц</a:t>
            </a:r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 во время физической нагрузки у пациентов с поражением периферических артерий (перемежающаяся хромота) может вызывать боль в мышцах голени</a:t>
            </a:r>
            <a:r>
              <a:rPr lang="ru-RU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Э</a:t>
            </a:r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тот симптом связан с недостаточным кровоснабжением мышц,  сокращение мышц при этом отсутствует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ru-RU" b="1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Фантомные спазмы</a:t>
            </a:r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 представляют собой ощущение спазма мышц в отсутствие их истинного сокращения или ишемии.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2076129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769312DA-8319-4D18-B084-600A2E228E86}"/>
              </a:ext>
            </a:extLst>
          </p:cNvPr>
          <p:cNvSpPr/>
          <p:nvPr/>
        </p:nvSpPr>
        <p:spPr>
          <a:xfrm>
            <a:off x="-84666" y="0"/>
            <a:ext cx="1227666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79B4E6C5-A95F-46C1-A06B-EBC9C8942BE1}"/>
              </a:ext>
            </a:extLst>
          </p:cNvPr>
          <p:cNvSpPr/>
          <p:nvPr/>
        </p:nvSpPr>
        <p:spPr>
          <a:xfrm>
            <a:off x="-42332" y="1106961"/>
            <a:ext cx="12276663" cy="4890267"/>
          </a:xfrm>
          <a:prstGeom prst="rect">
            <a:avLst/>
          </a:prstGeom>
          <a:solidFill>
            <a:srgbClr val="FBF3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37C3C67-5764-481D-84A4-A2B9A113D423}"/>
              </a:ext>
            </a:extLst>
          </p:cNvPr>
          <p:cNvSpPr txBox="1"/>
          <p:nvPr/>
        </p:nvSpPr>
        <p:spPr>
          <a:xfrm>
            <a:off x="-32292" y="1387581"/>
            <a:ext cx="2709852" cy="3093154"/>
          </a:xfrm>
          <a:prstGeom prst="rect">
            <a:avLst/>
          </a:prstGeom>
          <a:solidFill>
            <a:srgbClr val="C00000">
              <a:alpha val="41000"/>
            </a:srgb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1" u="none" strike="noStrike" kern="1200" cap="none" spc="0" normalizeH="0" baseline="0" noProof="0" dirty="0">
              <a:ln>
                <a:noFill/>
              </a:ln>
              <a:solidFill>
                <a:srgbClr val="79490F"/>
              </a:solidFill>
              <a:effectLst/>
              <a:uLnTx/>
              <a:uFillTx/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1" u="none" strike="noStrike" kern="1200" cap="none" spc="0" normalizeH="0" baseline="0" noProof="0" dirty="0">
                <a:ln>
                  <a:noFill/>
                </a:ln>
                <a:solidFill>
                  <a:srgbClr val="79490F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Этап 1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1" u="none" strike="noStrike" kern="1200" cap="none" spc="0" normalizeH="0" baseline="0" noProof="0" dirty="0">
              <a:ln>
                <a:noFill/>
              </a:ln>
              <a:solidFill>
                <a:srgbClr val="79490F"/>
              </a:solidFill>
              <a:effectLst/>
              <a:uLnTx/>
              <a:uFillTx/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1" u="none" strike="noStrike" kern="1200" cap="none" spc="0" normalizeH="0" baseline="0" noProof="0" dirty="0">
              <a:ln>
                <a:noFill/>
              </a:ln>
              <a:solidFill>
                <a:srgbClr val="79490F"/>
              </a:solidFill>
              <a:effectLst/>
              <a:uLnTx/>
              <a:uFillTx/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1" u="none" strike="noStrike" kern="1200" cap="none" spc="0" normalizeH="0" baseline="0" noProof="0" dirty="0">
              <a:ln>
                <a:noFill/>
              </a:ln>
              <a:solidFill>
                <a:srgbClr val="79490F"/>
              </a:solidFill>
              <a:effectLst/>
              <a:uLnTx/>
              <a:uFillTx/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0" i="1" u="none" strike="noStrike" kern="1200" cap="none" spc="0" normalizeH="0" baseline="0" noProof="0" dirty="0">
                <a:ln>
                  <a:noFill/>
                </a:ln>
                <a:solidFill>
                  <a:srgbClr val="79490F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Купирование болевого синдрома</a:t>
            </a:r>
            <a:r>
              <a:rPr kumimoji="0" lang="en-US" sz="1500" b="0" i="1" u="none" strike="noStrike" kern="1200" cap="none" spc="0" normalizeH="0" baseline="0" noProof="0" dirty="0">
                <a:ln>
                  <a:noFill/>
                </a:ln>
                <a:solidFill>
                  <a:srgbClr val="79490F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+</a:t>
            </a:r>
            <a:r>
              <a:rPr kumimoji="0" lang="ru-RU" sz="1500" b="0" i="1" u="none" strike="noStrike" kern="1200" cap="none" spc="0" normalizeH="0" baseline="0" noProof="0" dirty="0">
                <a:ln>
                  <a:noFill/>
                </a:ln>
                <a:solidFill>
                  <a:srgbClr val="79490F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восстановление хрящевой ткани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500" b="0" i="1" u="none" strike="noStrike" kern="1200" cap="none" spc="0" normalizeH="0" baseline="0" noProof="0" dirty="0">
              <a:ln>
                <a:noFill/>
              </a:ln>
              <a:solidFill>
                <a:srgbClr val="79490F"/>
              </a:solidFill>
              <a:effectLst/>
              <a:uLnTx/>
              <a:uFillTx/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500" b="0" i="1" u="none" strike="noStrike" kern="1200" cap="none" spc="0" normalizeH="0" baseline="0" noProof="0" dirty="0">
              <a:ln>
                <a:noFill/>
              </a:ln>
              <a:solidFill>
                <a:srgbClr val="79490F"/>
              </a:solidFill>
              <a:effectLst/>
              <a:uLnTx/>
              <a:uFillTx/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500" b="0" i="1" u="none" strike="noStrike" kern="1200" cap="none" spc="0" normalizeH="0" baseline="0" noProof="0" dirty="0">
              <a:ln>
                <a:noFill/>
              </a:ln>
              <a:solidFill>
                <a:srgbClr val="79490F"/>
              </a:solidFill>
              <a:effectLst/>
              <a:uLnTx/>
              <a:uFillTx/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500" b="0" i="1" u="none" strike="noStrike" kern="1200" cap="none" spc="0" normalizeH="0" baseline="0" noProof="0" dirty="0">
              <a:ln>
                <a:noFill/>
              </a:ln>
              <a:solidFill>
                <a:srgbClr val="79490F"/>
              </a:solidFill>
              <a:effectLst/>
              <a:uLnTx/>
              <a:uFillTx/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CAE02CF-066D-4B2B-8AD9-D16945DE177E}"/>
              </a:ext>
            </a:extLst>
          </p:cNvPr>
          <p:cNvSpPr txBox="1"/>
          <p:nvPr/>
        </p:nvSpPr>
        <p:spPr>
          <a:xfrm>
            <a:off x="9521059" y="1368138"/>
            <a:ext cx="2713272" cy="309315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1" u="none" strike="noStrike" kern="1200" cap="none" spc="0" normalizeH="0" baseline="0" noProof="0" dirty="0">
              <a:ln>
                <a:noFill/>
              </a:ln>
              <a:solidFill>
                <a:srgbClr val="79490F"/>
              </a:solidFill>
              <a:effectLst/>
              <a:uLnTx/>
              <a:uFillTx/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1" u="none" strike="noStrike" kern="1200" cap="none" spc="0" normalizeH="0" baseline="0" noProof="0" dirty="0">
                <a:ln>
                  <a:noFill/>
                </a:ln>
                <a:solidFill>
                  <a:srgbClr val="79490F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Этап 2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1" u="none" strike="noStrike" kern="1200" cap="none" spc="0" normalizeH="0" baseline="0" noProof="0" dirty="0">
              <a:ln>
                <a:noFill/>
              </a:ln>
              <a:solidFill>
                <a:srgbClr val="79490F"/>
              </a:solidFill>
              <a:effectLst/>
              <a:uLnTx/>
              <a:uFillTx/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1" u="none" strike="noStrike" kern="1200" cap="none" spc="0" normalizeH="0" baseline="0" noProof="0" dirty="0">
              <a:ln>
                <a:noFill/>
              </a:ln>
              <a:solidFill>
                <a:srgbClr val="79490F"/>
              </a:solidFill>
              <a:effectLst/>
              <a:uLnTx/>
              <a:uFillTx/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1" u="none" strike="noStrike" kern="1200" cap="none" spc="0" normalizeH="0" baseline="0" noProof="0" dirty="0">
              <a:ln>
                <a:noFill/>
              </a:ln>
              <a:solidFill>
                <a:srgbClr val="79490F"/>
              </a:solidFill>
              <a:effectLst/>
              <a:uLnTx/>
              <a:uFillTx/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00" b="0" i="1" u="none" strike="noStrike" kern="1200" cap="none" spc="0" normalizeH="0" baseline="0" noProof="0" dirty="0">
                <a:ln>
                  <a:noFill/>
                </a:ln>
                <a:solidFill>
                  <a:srgbClr val="79490F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Продолжение патогенетической терапии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500" b="0" i="1" u="none" strike="noStrike" kern="1200" cap="none" spc="0" normalizeH="0" baseline="0" noProof="0" dirty="0">
              <a:ln>
                <a:noFill/>
              </a:ln>
              <a:solidFill>
                <a:srgbClr val="79490F"/>
              </a:solidFill>
              <a:effectLst/>
              <a:uLnTx/>
              <a:uFillTx/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500" b="0" i="1" u="none" strike="noStrike" kern="1200" cap="none" spc="0" normalizeH="0" baseline="0" noProof="0" dirty="0">
              <a:ln>
                <a:noFill/>
              </a:ln>
              <a:solidFill>
                <a:srgbClr val="79490F"/>
              </a:solidFill>
              <a:effectLst/>
              <a:uLnTx/>
              <a:uFillTx/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500" b="0" i="1" u="none" strike="noStrike" kern="1200" cap="none" spc="0" normalizeH="0" baseline="0" noProof="0" dirty="0">
              <a:ln>
                <a:noFill/>
              </a:ln>
              <a:solidFill>
                <a:srgbClr val="79490F"/>
              </a:solidFill>
              <a:effectLst/>
              <a:uLnTx/>
              <a:uFillTx/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500" b="0" i="1" u="none" strike="noStrike" kern="1200" cap="none" spc="0" normalizeH="0" baseline="0" noProof="0" dirty="0">
              <a:ln>
                <a:noFill/>
              </a:ln>
              <a:solidFill>
                <a:srgbClr val="79490F"/>
              </a:solidFill>
              <a:effectLst/>
              <a:uLnTx/>
              <a:uFillTx/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CC48EB7-DB04-47BB-A674-5A707AA72AB2}"/>
              </a:ext>
            </a:extLst>
          </p:cNvPr>
          <p:cNvSpPr txBox="1"/>
          <p:nvPr/>
        </p:nvSpPr>
        <p:spPr>
          <a:xfrm>
            <a:off x="2687600" y="2721191"/>
            <a:ext cx="3482838" cy="31393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12188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79490F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В 1 капсуле:</a:t>
            </a:r>
          </a:p>
          <a:p>
            <a:pPr marL="285750" marR="0" lvl="0" indent="-285750" algn="l" defTabSz="12188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79490F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Глюкозамина сульфат    250 мг</a:t>
            </a:r>
          </a:p>
          <a:p>
            <a:pPr marL="285750" marR="0" lvl="0" indent="-285750" algn="l" defTabSz="12188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79490F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Хондроитина сульфат    200 мг</a:t>
            </a:r>
          </a:p>
          <a:p>
            <a:pPr marL="285750" marR="0" lvl="0" indent="-285750" algn="l" defTabSz="12188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79490F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Ибупрофен 	 100 мг</a:t>
            </a:r>
            <a:endParaRPr kumimoji="0" lang="en-US" sz="1400" b="0" i="1" u="none" strike="noStrike" kern="1200" cap="none" spc="0" normalizeH="0" baseline="0" noProof="0" dirty="0">
              <a:ln>
                <a:noFill/>
              </a:ln>
              <a:solidFill>
                <a:srgbClr val="79490F"/>
              </a:solidFill>
              <a:effectLst/>
              <a:uLnTx/>
              <a:uFillTx/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0" marR="0" lvl="0" indent="0" algn="l" defTabSz="12188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79490F"/>
              </a:solidFill>
              <a:effectLst/>
              <a:uLnTx/>
              <a:uFillTx/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0" marR="0" lvl="0" indent="0" algn="l" defTabSz="12188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79490F"/>
              </a:solidFill>
              <a:effectLst/>
              <a:uLnTx/>
              <a:uFillTx/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0" marR="0" lvl="0" indent="0" algn="l" defTabSz="12188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79490F"/>
              </a:solidFill>
              <a:effectLst/>
              <a:uLnTx/>
              <a:uFillTx/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0" marR="0" lvl="0" indent="0" algn="l" defTabSz="12188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79490F"/>
              </a:solidFill>
              <a:effectLst/>
              <a:uLnTx/>
              <a:uFillTx/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0" marR="0" lvl="0" indent="0" algn="l" defTabSz="12188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79490F"/>
              </a:solidFill>
              <a:effectLst/>
              <a:uLnTx/>
              <a:uFillTx/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79490F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Рекомендованная схема применения:</a:t>
            </a:r>
            <a:b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79490F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79490F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по 2 капсулы 3 раза в сутки до 3 недель</a:t>
            </a:r>
          </a:p>
          <a:p>
            <a:pPr marL="0" marR="0" lvl="0" indent="0" algn="l" defTabSz="12188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79490F"/>
              </a:solidFill>
              <a:effectLst/>
              <a:uLnTx/>
              <a:uFillTx/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1DAF312-7140-4571-8E02-EF091DC6C2EC}"/>
              </a:ext>
            </a:extLst>
          </p:cNvPr>
          <p:cNvSpPr txBox="1"/>
          <p:nvPr/>
        </p:nvSpPr>
        <p:spPr>
          <a:xfrm>
            <a:off x="6170438" y="2702545"/>
            <a:ext cx="3557467" cy="27084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12188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1" i="0" u="none" strike="noStrike" kern="1200" cap="none" spc="-15" normalizeH="0" baseline="0" noProof="0" dirty="0">
                <a:ln>
                  <a:noFill/>
                </a:ln>
                <a:solidFill>
                  <a:srgbClr val="79490F"/>
                </a:solidFill>
                <a:effectLst/>
                <a:uLnTx/>
                <a:uFillTx/>
                <a:latin typeface="Arial"/>
                <a:ea typeface="Arial Unicode MS" panose="020B0604020202020204" pitchFamily="34" charset="-128"/>
                <a:cs typeface="Arial"/>
              </a:rPr>
              <a:t>В  составе1 кап капсулы:</a:t>
            </a:r>
          </a:p>
          <a:p>
            <a:pPr marL="285750" marR="0" lvl="0" indent="-285750" algn="l" defTabSz="12188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79490F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Глюкозамина сульфат     500 мг</a:t>
            </a:r>
          </a:p>
          <a:p>
            <a:pPr marL="285750" marR="0" lvl="0" indent="-285750" algn="l" defTabSz="12188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79490F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Хондроитина сульфат    400 мг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79490F"/>
              </a:solidFill>
              <a:effectLst/>
              <a:uLnTx/>
              <a:uFillTx/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285750" marR="0" lvl="0" indent="-285750" algn="l" defTabSz="12188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79490F"/>
              </a:solidFill>
              <a:effectLst/>
              <a:uLnTx/>
              <a:uFillTx/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285750" marR="0" lvl="0" indent="-285750" algn="l" defTabSz="12188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79490F"/>
              </a:solidFill>
              <a:effectLst/>
              <a:uLnTx/>
              <a:uFillTx/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285750" marR="0" lvl="0" indent="-285750" algn="l" defTabSz="12188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79490F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Рекомендованная схема применения:</a:t>
            </a:r>
            <a:b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79490F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79490F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по 1 капсуле 3 раза в сутки, 3 недели, в последующие дни – по 1 капсуле 2 раза в сутки. Курс – 3-6 месяцев</a:t>
            </a:r>
          </a:p>
          <a:p>
            <a:pPr marL="0" marR="0" lvl="0" indent="0" algn="l" defTabSz="121888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79490F"/>
              </a:solidFill>
              <a:effectLst/>
              <a:uLnTx/>
              <a:uFillTx/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072F4D97-2683-461A-B038-38C56800366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04345" y="6369013"/>
            <a:ext cx="1798002" cy="222274"/>
          </a:xfrm>
          <a:prstGeom prst="rect">
            <a:avLst/>
          </a:prstGeom>
        </p:spPr>
      </p:pic>
      <p:sp>
        <p:nvSpPr>
          <p:cNvPr id="17" name="Номер слайда 40">
            <a:extLst>
              <a:ext uri="{FF2B5EF4-FFF2-40B4-BE49-F238E27FC236}">
                <a16:creationId xmlns:a16="http://schemas.microsoft.com/office/drawing/2014/main" id="{28DF0D52-2ECE-40A0-AA16-54F24437E759}"/>
              </a:ext>
            </a:extLst>
          </p:cNvPr>
          <p:cNvSpPr txBox="1">
            <a:spLocks/>
          </p:cNvSpPr>
          <p:nvPr/>
        </p:nvSpPr>
        <p:spPr>
          <a:xfrm>
            <a:off x="262424" y="6445568"/>
            <a:ext cx="520610" cy="107950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 Unicode MS" panose="020B0604020202020204" pitchFamily="34" charset="-128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77A2376-FEA9-4230-9A10-19C555B788FA}" type="slidenum">
              <a:rPr kumimoji="0" lang="en-US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79490F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altLang="ru-RU" sz="1200" b="0" i="0" u="none" strike="noStrike" kern="1200" cap="none" spc="0" normalizeH="0" baseline="0" noProof="0" dirty="0">
              <a:ln>
                <a:noFill/>
              </a:ln>
              <a:solidFill>
                <a:srgbClr val="79490F"/>
              </a:solidFill>
              <a:effectLst/>
              <a:uLnTx/>
              <a:uFillTx/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6B5A8C0-3041-4446-A855-082678F7E35C}"/>
              </a:ext>
            </a:extLst>
          </p:cNvPr>
          <p:cNvSpPr txBox="1"/>
          <p:nvPr/>
        </p:nvSpPr>
        <p:spPr>
          <a:xfrm>
            <a:off x="114208" y="-61268"/>
            <a:ext cx="11728693" cy="12003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ru-RU"/>
            </a:defPPr>
            <a:lvl1pPr marR="0" lvl="0" indent="0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1" i="0" u="none" strike="noStrike" cap="none" spc="-40" normalizeH="0" baseline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-4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+mj-cs"/>
              </a:rPr>
              <a:t>Схема терапии хондропротекторами глюкозамин + хондроитинсульфат в сочетании с ибупрофеном отвечает целям и задачам двухэтапного лечения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-40" normalizeH="0" baseline="0" noProof="0" dirty="0">
                <a:ln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+mj-cs"/>
              </a:rPr>
              <a:t>ОА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9AAE9BE-01B1-48FE-B7D6-1F118CF6EB1A}"/>
              </a:ext>
            </a:extLst>
          </p:cNvPr>
          <p:cNvSpPr txBox="1"/>
          <p:nvPr/>
        </p:nvSpPr>
        <p:spPr>
          <a:xfrm>
            <a:off x="2805391" y="1341895"/>
            <a:ext cx="340673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+mn-cs"/>
              </a:rPr>
              <a:t>Глюкозамин+Хондритин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Arial Unicode MS" panose="020B0604020202020204" pitchFamily="34" charset="-128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+mn-cs"/>
              </a:rPr>
              <a:t>в сочетании с ибупрофеном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759AC0B-8784-424F-A170-C30260FD6363}"/>
              </a:ext>
            </a:extLst>
          </p:cNvPr>
          <p:cNvSpPr txBox="1"/>
          <p:nvPr/>
        </p:nvSpPr>
        <p:spPr>
          <a:xfrm>
            <a:off x="6121225" y="1376072"/>
            <a:ext cx="342506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A27E4A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+mn-cs"/>
              </a:rPr>
              <a:t>Глюкозамин+Хондроитин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A27E4A"/>
              </a:solidFill>
              <a:effectLst/>
              <a:uLnTx/>
              <a:uFillTx/>
              <a:latin typeface="Arial" panose="020B0604020202020204" pitchFamily="34" charset="0"/>
              <a:ea typeface="Arial Unicode MS" panose="020B0604020202020204" pitchFamily="34" charset="-128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A27E4A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+mn-cs"/>
              </a:rPr>
              <a:t>в эффективных дозах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Arial Unicode MS" panose="020B0604020202020204" pitchFamily="34" charset="-128"/>
              <a:cs typeface="+mn-cs"/>
            </a:endParaRPr>
          </a:p>
        </p:txBody>
      </p:sp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648AF6FE-668D-42E7-8EA7-EF34B0DF5D3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877650" y="4478324"/>
            <a:ext cx="652292" cy="1418208"/>
          </a:xfrm>
          <a:prstGeom prst="rect">
            <a:avLst/>
          </a:prstGeom>
        </p:spPr>
      </p:pic>
      <p:pic>
        <p:nvPicPr>
          <p:cNvPr id="26" name="Рисунок 57">
            <a:extLst>
              <a:ext uri="{FF2B5EF4-FFF2-40B4-BE49-F238E27FC236}">
                <a16:creationId xmlns:a16="http://schemas.microsoft.com/office/drawing/2014/main" id="{D759116A-621E-4A2B-ACDF-3EAFEF080B5E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10739844" y="4592341"/>
            <a:ext cx="680656" cy="1525457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A9AED774-6FF3-4745-BECE-03EF10ACB395}"/>
              </a:ext>
            </a:extLst>
          </p:cNvPr>
          <p:cNvSpPr txBox="1"/>
          <p:nvPr/>
        </p:nvSpPr>
        <p:spPr>
          <a:xfrm>
            <a:off x="771258" y="5940267"/>
            <a:ext cx="9421311" cy="830987"/>
          </a:xfrm>
          <a:prstGeom prst="rect">
            <a:avLst/>
          </a:prstGeom>
          <a:noFill/>
        </p:spPr>
        <p:txBody>
          <a:bodyPr wrap="square" lIns="91431" tIns="45715" rIns="91431" bIns="45715" rtlCol="0">
            <a:spAutoFit/>
          </a:bodyPr>
          <a:lstStyle/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9490F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Поворознюк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79490F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В.В. и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9490F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соавт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79490F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. Эффективность препарата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9490F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Терафлек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79490F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® Адванс: результаты нового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9490F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мультицентрового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79490F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исследования. Новости медицины и фармации № 20 (346), Ноябрь, 2010.</a:t>
            </a: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79490F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Схема приема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9490F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Терафлек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79490F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® (первые 3 недели по 1 капсуле 3 раза в сутки) обеспечивает суточную терапевтическую дозу глюкозамина и хондроитина.</a:t>
            </a: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9490F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Проспективное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79490F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многоцентровое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9490F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неинтервенционное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79490F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исследование у пациентов с остеоартритом коленного или тазобедренного суставов, получающих лечение препаратом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79490F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Терафлек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79490F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® https://clinicaltrials.gov/ct2/show/NCT03330288 </a:t>
            </a:r>
          </a:p>
          <a:p>
            <a:pPr marL="228600" marR="0" lvl="0" indent="-2286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AutoNum type="arabicPeriod"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79490F"/>
                </a:solidFill>
                <a:effectLst/>
                <a:uLnTx/>
                <a:uFillTx/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Комбинация глюкозамина 1500мг/сутки и хондроитина 1200мг/сутки эффективно уменьшает боль и другие симптомы заболевания на ранних стадиях ОА. Светлова М.С. Патогенетическое лечение остеоартроза коленных суставов // Современная ревматология.-2012.-№3.-с.44-49.</a:t>
            </a: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B9A012C7-C8F9-4414-AFD6-204A66E02050}"/>
              </a:ext>
            </a:extLst>
          </p:cNvPr>
          <p:cNvSpPr/>
          <p:nvPr/>
        </p:nvSpPr>
        <p:spPr>
          <a:xfrm>
            <a:off x="10204345" y="5943918"/>
            <a:ext cx="1931716" cy="762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881427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EAE27A46-293E-46AA-8213-83F1EA842E3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11" imgW="425" imgH="424" progId="TCLayout.ActiveDocument.1">
                  <p:embed/>
                </p:oleObj>
              </mc:Choice>
              <mc:Fallback>
                <p:oleObj name="think-cell Slide" r:id="rId11" imgW="425" imgH="424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EAE27A46-293E-46AA-8213-83F1EA842E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CE8C98FA-A89A-4D9B-A379-F67383CC5A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EDA870-630B-4DE6-83FA-C73B4D13AF29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872F5A70-2D20-4AF4-AA7C-040F8387953B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3287284" y="5328955"/>
            <a:ext cx="54197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81818" indent="-181818" algn="l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Char char="•"/>
              <a:defRPr sz="2227" kern="120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909" kern="120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591" kern="120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2727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78" name="Text Placeholder 2">
            <a:extLst>
              <a:ext uri="{FF2B5EF4-FFF2-40B4-BE49-F238E27FC236}">
                <a16:creationId xmlns:a16="http://schemas.microsoft.com/office/drawing/2014/main" id="{743A0B17-BAFD-4611-9729-FB5B1C55DD14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164697" y="3079162"/>
            <a:ext cx="109855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87313" rIns="0" bIns="85725" numCol="1" spcCol="0" rtlCol="0" anchor="ctr" anchorCtr="0">
            <a:noAutofit/>
          </a:bodyPr>
          <a:lstStyle>
            <a:lvl1pPr marL="181818" indent="-181818" algn="l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Char char="•"/>
              <a:defRPr sz="2227" kern="120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909" kern="120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591" kern="120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2727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F0CB69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8546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F0CB69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80" name="Text Placeholder 2">
            <a:extLst>
              <a:ext uri="{FF2B5EF4-FFF2-40B4-BE49-F238E27FC236}">
                <a16:creationId xmlns:a16="http://schemas.microsoft.com/office/drawing/2014/main" id="{54A01DD4-6183-432B-B216-151231BE6C6C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8274407" y="3788870"/>
            <a:ext cx="2969781" cy="5078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288925" rIns="0" bIns="287338" numCol="1" spcCol="0" rtlCol="0" anchor="ctr" anchorCtr="0">
            <a:noAutofit/>
          </a:bodyPr>
          <a:lstStyle>
            <a:lvl1pPr marL="181818" indent="-181818" algn="l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Char char="•"/>
              <a:defRPr sz="2227" kern="120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909" kern="120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591" kern="120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2727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A06F2A"/>
                </a:solidFill>
                <a:effectLst/>
                <a:uLnTx/>
                <a:uFillTx/>
                <a:latin typeface="Inter" panose="02000803000000020004" pitchFamily="50" charset="0"/>
                <a:ea typeface="Inter" panose="02000803000000020004" pitchFamily="50" charset="0"/>
                <a:cs typeface="Inter" panose="02000803000000020004" pitchFamily="50" charset="0"/>
              </a:rPr>
              <a:t>Оценка эффективности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A06F2A"/>
              </a:solidFill>
              <a:effectLst/>
              <a:uLnTx/>
              <a:uFillTx/>
              <a:latin typeface="Inter" panose="02000803000000020004" pitchFamily="50" charset="0"/>
              <a:ea typeface="Inter" panose="02000803000000020004" pitchFamily="50" charset="0"/>
              <a:cs typeface="Inter" panose="02000803000000020004" pitchFamily="50" charset="0"/>
            </a:endParaRPr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87D66C74-E5BC-458B-9280-F0316014264F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4817097" y="1716263"/>
            <a:ext cx="2577151" cy="2973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1818" indent="-181818" algn="l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Char char="•"/>
              <a:defRPr sz="2227" kern="120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909" kern="120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591" kern="120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2727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A06F2A"/>
                </a:solidFill>
                <a:effectLst/>
                <a:uLnTx/>
                <a:uFillTx/>
                <a:latin typeface="Inter" panose="02000803000000020004" pitchFamily="50" charset="0"/>
                <a:ea typeface="Inter" panose="02000803000000020004" pitchFamily="50" charset="0"/>
                <a:cs typeface="Inter" panose="02000803000000020004" pitchFamily="50" charset="0"/>
              </a:rPr>
              <a:t>Дизайн исследования</a:t>
            </a:r>
          </a:p>
        </p:txBody>
      </p:sp>
      <p:sp>
        <p:nvSpPr>
          <p:cNvPr id="82" name="Text Placeholder 2">
            <a:extLst>
              <a:ext uri="{FF2B5EF4-FFF2-40B4-BE49-F238E27FC236}">
                <a16:creationId xmlns:a16="http://schemas.microsoft.com/office/drawing/2014/main" id="{39B50699-C45D-4373-A4CF-1D7FD7549BD4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5341130" y="3913947"/>
            <a:ext cx="1533525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1818" indent="-181818" algn="l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Char char="•"/>
              <a:defRPr sz="2227" kern="120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909" kern="120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591" kern="120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2727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A06F2A"/>
                </a:solidFill>
                <a:effectLst/>
                <a:uLnTx/>
                <a:uFillTx/>
                <a:latin typeface="Inter" panose="02000803000000020004" pitchFamily="50" charset="0"/>
                <a:ea typeface="Inter" panose="02000803000000020004" pitchFamily="50" charset="0"/>
                <a:cs typeface="Inter" panose="02000803000000020004" pitchFamily="50" charset="0"/>
              </a:rPr>
              <a:t>Анализ данных</a:t>
            </a:r>
          </a:p>
        </p:txBody>
      </p:sp>
      <p:grpSp>
        <p:nvGrpSpPr>
          <p:cNvPr id="92" name="Группа 91">
            <a:extLst>
              <a:ext uri="{FF2B5EF4-FFF2-40B4-BE49-F238E27FC236}">
                <a16:creationId xmlns:a16="http://schemas.microsoft.com/office/drawing/2014/main" id="{8C489D85-1CA5-40CD-A795-DA85AE05AE90}"/>
              </a:ext>
            </a:extLst>
          </p:cNvPr>
          <p:cNvGrpSpPr/>
          <p:nvPr/>
        </p:nvGrpSpPr>
        <p:grpSpPr>
          <a:xfrm>
            <a:off x="1987979" y="2146736"/>
            <a:ext cx="1633538" cy="860426"/>
            <a:chOff x="862013" y="2146300"/>
            <a:chExt cx="1633538" cy="860426"/>
          </a:xfrm>
        </p:grpSpPr>
        <p:sp>
          <p:nvSpPr>
            <p:cNvPr id="86" name="Фигура">
              <a:extLst>
                <a:ext uri="{FF2B5EF4-FFF2-40B4-BE49-F238E27FC236}">
                  <a16:creationId xmlns:a16="http://schemas.microsoft.com/office/drawing/2014/main" id="{50FE5549-2DF3-4407-AF72-6736DF14AAF3}"/>
                </a:ext>
              </a:extLst>
            </p:cNvPr>
            <p:cNvSpPr/>
            <p:nvPr/>
          </p:nvSpPr>
          <p:spPr>
            <a:xfrm>
              <a:off x="862013" y="2154238"/>
              <a:ext cx="338138" cy="8524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017" y="3847"/>
                  </a:moveTo>
                  <a:lnTo>
                    <a:pt x="15583" y="3847"/>
                  </a:lnTo>
                  <a:cubicBezTo>
                    <a:pt x="18906" y="3847"/>
                    <a:pt x="21600" y="4905"/>
                    <a:pt x="21600" y="6209"/>
                  </a:cubicBezTo>
                  <a:lnTo>
                    <a:pt x="21600" y="11671"/>
                  </a:lnTo>
                  <a:cubicBezTo>
                    <a:pt x="21600" y="11672"/>
                    <a:pt x="21600" y="11672"/>
                    <a:pt x="21600" y="11672"/>
                  </a:cubicBezTo>
                  <a:cubicBezTo>
                    <a:pt x="21600" y="12119"/>
                    <a:pt x="20678" y="12480"/>
                    <a:pt x="19541" y="12480"/>
                  </a:cubicBezTo>
                  <a:cubicBezTo>
                    <a:pt x="18403" y="12480"/>
                    <a:pt x="17482" y="12119"/>
                    <a:pt x="17482" y="11672"/>
                  </a:cubicBezTo>
                  <a:lnTo>
                    <a:pt x="17481" y="11672"/>
                  </a:lnTo>
                  <a:lnTo>
                    <a:pt x="17481" y="6209"/>
                  </a:lnTo>
                  <a:lnTo>
                    <a:pt x="16526" y="6209"/>
                  </a:lnTo>
                  <a:lnTo>
                    <a:pt x="16526" y="20570"/>
                  </a:lnTo>
                  <a:lnTo>
                    <a:pt x="16526" y="20570"/>
                  </a:lnTo>
                  <a:cubicBezTo>
                    <a:pt x="16526" y="21139"/>
                    <a:pt x="15351" y="21600"/>
                    <a:pt x="13902" y="21600"/>
                  </a:cubicBezTo>
                  <a:cubicBezTo>
                    <a:pt x="12452" y="21600"/>
                    <a:pt x="11277" y="21139"/>
                    <a:pt x="11277" y="20570"/>
                  </a:cubicBezTo>
                  <a:lnTo>
                    <a:pt x="11277" y="13297"/>
                  </a:lnTo>
                  <a:lnTo>
                    <a:pt x="10323" y="13297"/>
                  </a:lnTo>
                  <a:lnTo>
                    <a:pt x="10323" y="20570"/>
                  </a:lnTo>
                  <a:cubicBezTo>
                    <a:pt x="10323" y="21139"/>
                    <a:pt x="9148" y="21600"/>
                    <a:pt x="7698" y="21600"/>
                  </a:cubicBezTo>
                  <a:cubicBezTo>
                    <a:pt x="6249" y="21600"/>
                    <a:pt x="5074" y="21139"/>
                    <a:pt x="5074" y="20570"/>
                  </a:cubicBezTo>
                  <a:lnTo>
                    <a:pt x="5073" y="20570"/>
                  </a:lnTo>
                  <a:lnTo>
                    <a:pt x="5073" y="6209"/>
                  </a:lnTo>
                  <a:lnTo>
                    <a:pt x="4118" y="6209"/>
                  </a:lnTo>
                  <a:lnTo>
                    <a:pt x="4118" y="11672"/>
                  </a:lnTo>
                  <a:cubicBezTo>
                    <a:pt x="4118" y="12119"/>
                    <a:pt x="3197" y="12480"/>
                    <a:pt x="2059" y="12480"/>
                  </a:cubicBezTo>
                  <a:cubicBezTo>
                    <a:pt x="922" y="12480"/>
                    <a:pt x="0" y="12119"/>
                    <a:pt x="0" y="11672"/>
                  </a:cubicBezTo>
                  <a:lnTo>
                    <a:pt x="0" y="6209"/>
                  </a:lnTo>
                  <a:cubicBezTo>
                    <a:pt x="0" y="4905"/>
                    <a:pt x="2694" y="3847"/>
                    <a:pt x="6017" y="3847"/>
                  </a:cubicBezTo>
                  <a:close/>
                  <a:moveTo>
                    <a:pt x="6374" y="1746"/>
                  </a:moveTo>
                  <a:cubicBezTo>
                    <a:pt x="6374" y="2711"/>
                    <a:pt x="8365" y="3493"/>
                    <a:pt x="10823" y="3493"/>
                  </a:cubicBezTo>
                  <a:cubicBezTo>
                    <a:pt x="13280" y="3493"/>
                    <a:pt x="15272" y="2711"/>
                    <a:pt x="15272" y="1746"/>
                  </a:cubicBezTo>
                  <a:cubicBezTo>
                    <a:pt x="15272" y="782"/>
                    <a:pt x="13280" y="0"/>
                    <a:pt x="10823" y="0"/>
                  </a:cubicBezTo>
                  <a:cubicBezTo>
                    <a:pt x="8365" y="0"/>
                    <a:pt x="6374" y="782"/>
                    <a:pt x="6374" y="1746"/>
                  </a:cubicBezTo>
                  <a:close/>
                </a:path>
              </a:pathLst>
            </a:custGeom>
            <a:solidFill>
              <a:srgbClr val="53BFB0"/>
            </a:solidFill>
            <a:ln w="25400" cap="flat">
              <a:solidFill>
                <a:srgbClr val="3B5656"/>
              </a:solidFill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7" name="Фигура">
              <a:extLst>
                <a:ext uri="{FF2B5EF4-FFF2-40B4-BE49-F238E27FC236}">
                  <a16:creationId xmlns:a16="http://schemas.microsoft.com/office/drawing/2014/main" id="{B5DB6EC9-8C59-4A48-BFB9-55D41A5A98E8}"/>
                </a:ext>
              </a:extLst>
            </p:cNvPr>
            <p:cNvSpPr/>
            <p:nvPr/>
          </p:nvSpPr>
          <p:spPr>
            <a:xfrm>
              <a:off x="1246188" y="2154238"/>
              <a:ext cx="398463" cy="8524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10" h="21600" extrusionOk="0">
                  <a:moveTo>
                    <a:pt x="21247" y="10573"/>
                  </a:moveTo>
                  <a:lnTo>
                    <a:pt x="17364" y="5258"/>
                  </a:lnTo>
                  <a:cubicBezTo>
                    <a:pt x="16728" y="4388"/>
                    <a:pt x="14991" y="3847"/>
                    <a:pt x="13131" y="3847"/>
                  </a:cubicBezTo>
                  <a:cubicBezTo>
                    <a:pt x="13119" y="3847"/>
                    <a:pt x="13108" y="3847"/>
                    <a:pt x="13097" y="3847"/>
                  </a:cubicBezTo>
                  <a:lnTo>
                    <a:pt x="13097" y="3847"/>
                  </a:lnTo>
                  <a:lnTo>
                    <a:pt x="12219" y="3847"/>
                  </a:lnTo>
                  <a:lnTo>
                    <a:pt x="9090" y="3847"/>
                  </a:lnTo>
                  <a:lnTo>
                    <a:pt x="8213" y="3847"/>
                  </a:lnTo>
                  <a:lnTo>
                    <a:pt x="8213" y="3847"/>
                  </a:lnTo>
                  <a:cubicBezTo>
                    <a:pt x="8202" y="3847"/>
                    <a:pt x="8191" y="3847"/>
                    <a:pt x="8179" y="3847"/>
                  </a:cubicBezTo>
                  <a:cubicBezTo>
                    <a:pt x="6319" y="3847"/>
                    <a:pt x="4582" y="4388"/>
                    <a:pt x="3946" y="5258"/>
                  </a:cubicBezTo>
                  <a:lnTo>
                    <a:pt x="63" y="10573"/>
                  </a:lnTo>
                  <a:cubicBezTo>
                    <a:pt x="-145" y="10858"/>
                    <a:pt x="179" y="11168"/>
                    <a:pt x="787" y="11265"/>
                  </a:cubicBezTo>
                  <a:lnTo>
                    <a:pt x="1484" y="11377"/>
                  </a:lnTo>
                  <a:cubicBezTo>
                    <a:pt x="1609" y="11397"/>
                    <a:pt x="1736" y="11407"/>
                    <a:pt x="1861" y="11407"/>
                  </a:cubicBezTo>
                  <a:cubicBezTo>
                    <a:pt x="2345" y="11407"/>
                    <a:pt x="2796" y="11264"/>
                    <a:pt x="2962" y="11038"/>
                  </a:cubicBezTo>
                  <a:lnTo>
                    <a:pt x="6435" y="6288"/>
                  </a:lnTo>
                  <a:lnTo>
                    <a:pt x="6493" y="6209"/>
                  </a:lnTo>
                  <a:lnTo>
                    <a:pt x="7331" y="6209"/>
                  </a:lnTo>
                  <a:lnTo>
                    <a:pt x="1162" y="14494"/>
                  </a:lnTo>
                  <a:lnTo>
                    <a:pt x="6965" y="14494"/>
                  </a:lnTo>
                  <a:lnTo>
                    <a:pt x="6965" y="20831"/>
                  </a:lnTo>
                  <a:cubicBezTo>
                    <a:pt x="6965" y="21256"/>
                    <a:pt x="7700" y="21600"/>
                    <a:pt x="8607" y="21600"/>
                  </a:cubicBezTo>
                  <a:cubicBezTo>
                    <a:pt x="9514" y="21600"/>
                    <a:pt x="10250" y="21256"/>
                    <a:pt x="10250" y="20831"/>
                  </a:cubicBezTo>
                  <a:lnTo>
                    <a:pt x="10255" y="20831"/>
                  </a:lnTo>
                  <a:lnTo>
                    <a:pt x="10255" y="14494"/>
                  </a:lnTo>
                  <a:lnTo>
                    <a:pt x="11055" y="14494"/>
                  </a:lnTo>
                  <a:lnTo>
                    <a:pt x="11055" y="20831"/>
                  </a:lnTo>
                  <a:cubicBezTo>
                    <a:pt x="11055" y="21256"/>
                    <a:pt x="11790" y="21600"/>
                    <a:pt x="12698" y="21600"/>
                  </a:cubicBezTo>
                  <a:cubicBezTo>
                    <a:pt x="13605" y="21600"/>
                    <a:pt x="14340" y="21256"/>
                    <a:pt x="14340" y="20831"/>
                  </a:cubicBezTo>
                  <a:lnTo>
                    <a:pt x="14345" y="20831"/>
                  </a:lnTo>
                  <a:lnTo>
                    <a:pt x="14345" y="14494"/>
                  </a:lnTo>
                  <a:lnTo>
                    <a:pt x="20148" y="14494"/>
                  </a:lnTo>
                  <a:lnTo>
                    <a:pt x="13978" y="6209"/>
                  </a:lnTo>
                  <a:lnTo>
                    <a:pt x="14817" y="6209"/>
                  </a:lnTo>
                  <a:lnTo>
                    <a:pt x="14875" y="6288"/>
                  </a:lnTo>
                  <a:lnTo>
                    <a:pt x="18348" y="11038"/>
                  </a:lnTo>
                  <a:cubicBezTo>
                    <a:pt x="18514" y="11264"/>
                    <a:pt x="18965" y="11407"/>
                    <a:pt x="19449" y="11407"/>
                  </a:cubicBezTo>
                  <a:cubicBezTo>
                    <a:pt x="19574" y="11407"/>
                    <a:pt x="19701" y="11397"/>
                    <a:pt x="19826" y="11377"/>
                  </a:cubicBezTo>
                  <a:lnTo>
                    <a:pt x="20523" y="11265"/>
                  </a:lnTo>
                  <a:cubicBezTo>
                    <a:pt x="21131" y="11168"/>
                    <a:pt x="21455" y="10858"/>
                    <a:pt x="21247" y="10573"/>
                  </a:cubicBezTo>
                  <a:close/>
                  <a:moveTo>
                    <a:pt x="6926" y="1746"/>
                  </a:moveTo>
                  <a:cubicBezTo>
                    <a:pt x="6926" y="782"/>
                    <a:pt x="8595" y="0"/>
                    <a:pt x="10655" y="0"/>
                  </a:cubicBezTo>
                  <a:cubicBezTo>
                    <a:pt x="12715" y="0"/>
                    <a:pt x="14384" y="782"/>
                    <a:pt x="14384" y="1746"/>
                  </a:cubicBezTo>
                  <a:cubicBezTo>
                    <a:pt x="14384" y="2711"/>
                    <a:pt x="12715" y="3493"/>
                    <a:pt x="10655" y="3493"/>
                  </a:cubicBezTo>
                  <a:cubicBezTo>
                    <a:pt x="8595" y="3493"/>
                    <a:pt x="6926" y="2711"/>
                    <a:pt x="6926" y="1746"/>
                  </a:cubicBezTo>
                  <a:close/>
                </a:path>
              </a:pathLst>
            </a:custGeom>
            <a:solidFill>
              <a:srgbClr val="53BFB0"/>
            </a:solidFill>
            <a:ln w="25400" cap="flat">
              <a:solidFill>
                <a:srgbClr val="3B5656"/>
              </a:solidFill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Фигура">
              <a:extLst>
                <a:ext uri="{FF2B5EF4-FFF2-40B4-BE49-F238E27FC236}">
                  <a16:creationId xmlns:a16="http://schemas.microsoft.com/office/drawing/2014/main" id="{F25C3654-7658-4005-8F30-D1AE1147C42A}"/>
                </a:ext>
              </a:extLst>
            </p:cNvPr>
            <p:cNvSpPr/>
            <p:nvPr/>
          </p:nvSpPr>
          <p:spPr>
            <a:xfrm>
              <a:off x="1712913" y="2146300"/>
              <a:ext cx="338138" cy="8524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600" h="21600" extrusionOk="0">
                  <a:moveTo>
                    <a:pt x="6017" y="3847"/>
                  </a:moveTo>
                  <a:lnTo>
                    <a:pt x="15583" y="3847"/>
                  </a:lnTo>
                  <a:cubicBezTo>
                    <a:pt x="18906" y="3847"/>
                    <a:pt x="21600" y="4905"/>
                    <a:pt x="21600" y="6209"/>
                  </a:cubicBezTo>
                  <a:lnTo>
                    <a:pt x="21600" y="11671"/>
                  </a:lnTo>
                  <a:cubicBezTo>
                    <a:pt x="21600" y="11672"/>
                    <a:pt x="21600" y="11672"/>
                    <a:pt x="21600" y="11672"/>
                  </a:cubicBezTo>
                  <a:cubicBezTo>
                    <a:pt x="21600" y="12119"/>
                    <a:pt x="20678" y="12480"/>
                    <a:pt x="19541" y="12480"/>
                  </a:cubicBezTo>
                  <a:cubicBezTo>
                    <a:pt x="18403" y="12480"/>
                    <a:pt x="17482" y="12119"/>
                    <a:pt x="17482" y="11672"/>
                  </a:cubicBezTo>
                  <a:lnTo>
                    <a:pt x="17481" y="11672"/>
                  </a:lnTo>
                  <a:lnTo>
                    <a:pt x="17481" y="6209"/>
                  </a:lnTo>
                  <a:lnTo>
                    <a:pt x="16526" y="6209"/>
                  </a:lnTo>
                  <a:lnTo>
                    <a:pt x="16526" y="20570"/>
                  </a:lnTo>
                  <a:lnTo>
                    <a:pt x="16526" y="20570"/>
                  </a:lnTo>
                  <a:cubicBezTo>
                    <a:pt x="16526" y="21139"/>
                    <a:pt x="15351" y="21600"/>
                    <a:pt x="13902" y="21600"/>
                  </a:cubicBezTo>
                  <a:cubicBezTo>
                    <a:pt x="12452" y="21600"/>
                    <a:pt x="11277" y="21139"/>
                    <a:pt x="11277" y="20570"/>
                  </a:cubicBezTo>
                  <a:lnTo>
                    <a:pt x="11277" y="13297"/>
                  </a:lnTo>
                  <a:lnTo>
                    <a:pt x="10323" y="13297"/>
                  </a:lnTo>
                  <a:lnTo>
                    <a:pt x="10323" y="20570"/>
                  </a:lnTo>
                  <a:cubicBezTo>
                    <a:pt x="10323" y="21139"/>
                    <a:pt x="9148" y="21600"/>
                    <a:pt x="7698" y="21600"/>
                  </a:cubicBezTo>
                  <a:cubicBezTo>
                    <a:pt x="6249" y="21600"/>
                    <a:pt x="5074" y="21139"/>
                    <a:pt x="5074" y="20570"/>
                  </a:cubicBezTo>
                  <a:lnTo>
                    <a:pt x="5073" y="20570"/>
                  </a:lnTo>
                  <a:lnTo>
                    <a:pt x="5073" y="6209"/>
                  </a:lnTo>
                  <a:lnTo>
                    <a:pt x="4118" y="6209"/>
                  </a:lnTo>
                  <a:lnTo>
                    <a:pt x="4118" y="11672"/>
                  </a:lnTo>
                  <a:cubicBezTo>
                    <a:pt x="4118" y="12119"/>
                    <a:pt x="3197" y="12480"/>
                    <a:pt x="2059" y="12480"/>
                  </a:cubicBezTo>
                  <a:cubicBezTo>
                    <a:pt x="922" y="12480"/>
                    <a:pt x="0" y="12119"/>
                    <a:pt x="0" y="11672"/>
                  </a:cubicBezTo>
                  <a:lnTo>
                    <a:pt x="0" y="6209"/>
                  </a:lnTo>
                  <a:cubicBezTo>
                    <a:pt x="0" y="4905"/>
                    <a:pt x="2694" y="3847"/>
                    <a:pt x="6017" y="3847"/>
                  </a:cubicBezTo>
                  <a:close/>
                  <a:moveTo>
                    <a:pt x="6374" y="1746"/>
                  </a:moveTo>
                  <a:cubicBezTo>
                    <a:pt x="6374" y="2711"/>
                    <a:pt x="8365" y="3493"/>
                    <a:pt x="10823" y="3493"/>
                  </a:cubicBezTo>
                  <a:cubicBezTo>
                    <a:pt x="13280" y="3493"/>
                    <a:pt x="15272" y="2711"/>
                    <a:pt x="15272" y="1746"/>
                  </a:cubicBezTo>
                  <a:cubicBezTo>
                    <a:pt x="15272" y="782"/>
                    <a:pt x="13280" y="0"/>
                    <a:pt x="10823" y="0"/>
                  </a:cubicBezTo>
                  <a:cubicBezTo>
                    <a:pt x="8365" y="0"/>
                    <a:pt x="6374" y="782"/>
                    <a:pt x="6374" y="1746"/>
                  </a:cubicBezTo>
                  <a:close/>
                </a:path>
              </a:pathLst>
            </a:custGeom>
            <a:solidFill>
              <a:srgbClr val="53BFB0"/>
            </a:solidFill>
            <a:ln w="25400" cap="flat">
              <a:solidFill>
                <a:srgbClr val="3B5656"/>
              </a:solidFill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" name="Фигура">
              <a:extLst>
                <a:ext uri="{FF2B5EF4-FFF2-40B4-BE49-F238E27FC236}">
                  <a16:creationId xmlns:a16="http://schemas.microsoft.com/office/drawing/2014/main" id="{53D5F57C-4839-4C38-848E-DE566692AEA6}"/>
                </a:ext>
              </a:extLst>
            </p:cNvPr>
            <p:cNvSpPr/>
            <p:nvPr/>
          </p:nvSpPr>
          <p:spPr>
            <a:xfrm>
              <a:off x="2097088" y="2146300"/>
              <a:ext cx="398463" cy="852488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310" h="21600" extrusionOk="0">
                  <a:moveTo>
                    <a:pt x="21247" y="10573"/>
                  </a:moveTo>
                  <a:lnTo>
                    <a:pt x="17364" y="5258"/>
                  </a:lnTo>
                  <a:cubicBezTo>
                    <a:pt x="16728" y="4388"/>
                    <a:pt x="14991" y="3847"/>
                    <a:pt x="13131" y="3847"/>
                  </a:cubicBezTo>
                  <a:cubicBezTo>
                    <a:pt x="13119" y="3847"/>
                    <a:pt x="13108" y="3847"/>
                    <a:pt x="13097" y="3847"/>
                  </a:cubicBezTo>
                  <a:lnTo>
                    <a:pt x="13097" y="3847"/>
                  </a:lnTo>
                  <a:lnTo>
                    <a:pt x="12219" y="3847"/>
                  </a:lnTo>
                  <a:lnTo>
                    <a:pt x="9090" y="3847"/>
                  </a:lnTo>
                  <a:lnTo>
                    <a:pt x="8213" y="3847"/>
                  </a:lnTo>
                  <a:lnTo>
                    <a:pt x="8213" y="3847"/>
                  </a:lnTo>
                  <a:cubicBezTo>
                    <a:pt x="8202" y="3847"/>
                    <a:pt x="8191" y="3847"/>
                    <a:pt x="8179" y="3847"/>
                  </a:cubicBezTo>
                  <a:cubicBezTo>
                    <a:pt x="6319" y="3847"/>
                    <a:pt x="4582" y="4388"/>
                    <a:pt x="3946" y="5258"/>
                  </a:cubicBezTo>
                  <a:lnTo>
                    <a:pt x="63" y="10573"/>
                  </a:lnTo>
                  <a:cubicBezTo>
                    <a:pt x="-145" y="10858"/>
                    <a:pt x="179" y="11168"/>
                    <a:pt x="787" y="11265"/>
                  </a:cubicBezTo>
                  <a:lnTo>
                    <a:pt x="1484" y="11377"/>
                  </a:lnTo>
                  <a:cubicBezTo>
                    <a:pt x="1609" y="11397"/>
                    <a:pt x="1736" y="11407"/>
                    <a:pt x="1861" y="11407"/>
                  </a:cubicBezTo>
                  <a:cubicBezTo>
                    <a:pt x="2345" y="11407"/>
                    <a:pt x="2796" y="11264"/>
                    <a:pt x="2962" y="11038"/>
                  </a:cubicBezTo>
                  <a:lnTo>
                    <a:pt x="6435" y="6288"/>
                  </a:lnTo>
                  <a:lnTo>
                    <a:pt x="6493" y="6209"/>
                  </a:lnTo>
                  <a:lnTo>
                    <a:pt x="7331" y="6209"/>
                  </a:lnTo>
                  <a:lnTo>
                    <a:pt x="1162" y="14494"/>
                  </a:lnTo>
                  <a:lnTo>
                    <a:pt x="6965" y="14494"/>
                  </a:lnTo>
                  <a:lnTo>
                    <a:pt x="6965" y="20831"/>
                  </a:lnTo>
                  <a:cubicBezTo>
                    <a:pt x="6965" y="21256"/>
                    <a:pt x="7700" y="21600"/>
                    <a:pt x="8607" y="21600"/>
                  </a:cubicBezTo>
                  <a:cubicBezTo>
                    <a:pt x="9514" y="21600"/>
                    <a:pt x="10250" y="21256"/>
                    <a:pt x="10250" y="20831"/>
                  </a:cubicBezTo>
                  <a:lnTo>
                    <a:pt x="10255" y="20831"/>
                  </a:lnTo>
                  <a:lnTo>
                    <a:pt x="10255" y="14494"/>
                  </a:lnTo>
                  <a:lnTo>
                    <a:pt x="11055" y="14494"/>
                  </a:lnTo>
                  <a:lnTo>
                    <a:pt x="11055" y="20831"/>
                  </a:lnTo>
                  <a:cubicBezTo>
                    <a:pt x="11055" y="21256"/>
                    <a:pt x="11790" y="21600"/>
                    <a:pt x="12698" y="21600"/>
                  </a:cubicBezTo>
                  <a:cubicBezTo>
                    <a:pt x="13605" y="21600"/>
                    <a:pt x="14340" y="21256"/>
                    <a:pt x="14340" y="20831"/>
                  </a:cubicBezTo>
                  <a:lnTo>
                    <a:pt x="14345" y="20831"/>
                  </a:lnTo>
                  <a:lnTo>
                    <a:pt x="14345" y="14494"/>
                  </a:lnTo>
                  <a:lnTo>
                    <a:pt x="20148" y="14494"/>
                  </a:lnTo>
                  <a:lnTo>
                    <a:pt x="13978" y="6209"/>
                  </a:lnTo>
                  <a:lnTo>
                    <a:pt x="14817" y="6209"/>
                  </a:lnTo>
                  <a:lnTo>
                    <a:pt x="14875" y="6288"/>
                  </a:lnTo>
                  <a:lnTo>
                    <a:pt x="18348" y="11038"/>
                  </a:lnTo>
                  <a:cubicBezTo>
                    <a:pt x="18514" y="11264"/>
                    <a:pt x="18965" y="11407"/>
                    <a:pt x="19449" y="11407"/>
                  </a:cubicBezTo>
                  <a:cubicBezTo>
                    <a:pt x="19574" y="11407"/>
                    <a:pt x="19701" y="11397"/>
                    <a:pt x="19826" y="11377"/>
                  </a:cubicBezTo>
                  <a:lnTo>
                    <a:pt x="20523" y="11265"/>
                  </a:lnTo>
                  <a:cubicBezTo>
                    <a:pt x="21131" y="11168"/>
                    <a:pt x="21455" y="10858"/>
                    <a:pt x="21247" y="10573"/>
                  </a:cubicBezTo>
                  <a:close/>
                  <a:moveTo>
                    <a:pt x="6926" y="1746"/>
                  </a:moveTo>
                  <a:cubicBezTo>
                    <a:pt x="6926" y="782"/>
                    <a:pt x="8595" y="0"/>
                    <a:pt x="10655" y="0"/>
                  </a:cubicBezTo>
                  <a:cubicBezTo>
                    <a:pt x="12715" y="0"/>
                    <a:pt x="14384" y="782"/>
                    <a:pt x="14384" y="1746"/>
                  </a:cubicBezTo>
                  <a:cubicBezTo>
                    <a:pt x="14384" y="2711"/>
                    <a:pt x="12715" y="3493"/>
                    <a:pt x="10655" y="3493"/>
                  </a:cubicBezTo>
                  <a:cubicBezTo>
                    <a:pt x="8595" y="3493"/>
                    <a:pt x="6926" y="2711"/>
                    <a:pt x="6926" y="1746"/>
                  </a:cubicBezTo>
                  <a:close/>
                </a:path>
              </a:pathLst>
            </a:custGeom>
            <a:solidFill>
              <a:srgbClr val="53BFB0"/>
            </a:solidFill>
            <a:ln w="25400" cap="flat">
              <a:solidFill>
                <a:srgbClr val="3B5656"/>
              </a:solidFill>
              <a:miter lim="400000"/>
            </a:ln>
            <a:effectLst/>
          </p:spPr>
          <p:txBody>
            <a:bodyPr wrap="square" lIns="0" tIns="0" rIns="0" bIns="0" numCol="1" anchor="ctr">
              <a:noAutofit/>
            </a:bodyPr>
            <a:lstStyle/>
            <a:p>
              <a:pPr marL="0" marR="0" lvl="0" indent="0" algn="l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40" name="Текст 2">
            <a:extLst>
              <a:ext uri="{FF2B5EF4-FFF2-40B4-BE49-F238E27FC236}">
                <a16:creationId xmlns:a16="http://schemas.microsoft.com/office/drawing/2014/main" id="{6090D529-549F-4FC0-AF44-FCA12F4DD7BD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8396861" y="4477501"/>
            <a:ext cx="3065360" cy="17029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A06F2A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   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A06F2A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Критерии эффективности:</a:t>
            </a:r>
          </a:p>
          <a:p>
            <a:pPr marL="228600" marR="0" lvl="0" indent="-22860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ct val="0"/>
              </a:spcAft>
              <a:buClr>
                <a:srgbClr val="F0CB6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A06F2A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ct val="0"/>
              </a:spcAft>
              <a:buClr>
                <a:srgbClr val="F0CB6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0CB69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Индекс Освестри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A06F2A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(индекс нетрудоспособности из-за БНС)</a:t>
            </a:r>
          </a:p>
          <a:p>
            <a:pPr marL="228600" marR="0" lvl="0" indent="-22860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ct val="0"/>
              </a:spcAft>
              <a:buClr>
                <a:srgbClr val="F0CB6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A06F2A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ct val="0"/>
              </a:spcAft>
              <a:buClr>
                <a:srgbClr val="F0CB6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0CB69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Общая оценка эффективности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A06F2A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больным и врачом (1-5 баллов)</a:t>
            </a:r>
          </a:p>
          <a:p>
            <a:pPr marL="228600" marR="0" lvl="0" indent="-22860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ct val="0"/>
              </a:spcAft>
              <a:buClr>
                <a:srgbClr val="F0CB6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A06F2A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70000"/>
              </a:lnSpc>
              <a:spcBef>
                <a:spcPts val="0"/>
              </a:spcBef>
              <a:spcAft>
                <a:spcPct val="0"/>
              </a:spcAft>
              <a:buClr>
                <a:srgbClr val="F0CB6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0CB69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+mn-lt"/>
              </a:rPr>
              <a:t>Суточная потребность в НПВП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0CB69"/>
              </a:solidFill>
              <a:effectLst/>
              <a:uLnTx/>
              <a:uFillTx/>
              <a:latin typeface="Arial"/>
              <a:ea typeface="+mn-ea"/>
              <a:cs typeface="+mn-cs"/>
              <a:sym typeface="+mn-lt"/>
            </a:endParaRPr>
          </a:p>
        </p:txBody>
      </p:sp>
      <p:sp>
        <p:nvSpPr>
          <p:cNvPr id="27" name="Заголовок 70">
            <a:extLst>
              <a:ext uri="{FF2B5EF4-FFF2-40B4-BE49-F238E27FC236}">
                <a16:creationId xmlns:a16="http://schemas.microsoft.com/office/drawing/2014/main" id="{E38A53B6-F886-4A43-A791-AA87218D84CA}"/>
              </a:ext>
            </a:extLst>
          </p:cNvPr>
          <p:cNvSpPr txBox="1">
            <a:spLocks/>
          </p:cNvSpPr>
          <p:nvPr/>
        </p:nvSpPr>
        <p:spPr>
          <a:xfrm>
            <a:off x="1028720" y="413298"/>
            <a:ext cx="10804123" cy="65578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900" b="0" i="0" u="none" strike="noStrike" kern="1200" cap="none" spc="0" normalizeH="0" baseline="0" noProof="0" dirty="0">
                <a:ln>
                  <a:noFill/>
                </a:ln>
                <a:solidFill>
                  <a:srgbClr val="A06F2A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Комбинация ХС и ГА – перспективное средство лечения БНС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88FD4923-7718-4D44-8442-5E4920F971A9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502228" y="3909117"/>
            <a:ext cx="1556478" cy="475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81818" indent="-181818" algn="l" defTabSz="727272" rtl="0" eaLnBrk="1" latinLnBrk="0" hangingPunct="1">
              <a:lnSpc>
                <a:spcPct val="90000"/>
              </a:lnSpc>
              <a:spcBef>
                <a:spcPts val="795"/>
              </a:spcBef>
              <a:buFont typeface="Arial" panose="020B0604020202020204" pitchFamily="34" charset="0"/>
              <a:buChar char="•"/>
              <a:defRPr sz="2227" kern="120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54545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909" kern="120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0909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591" kern="120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27272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636362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accent5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999998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63634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270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090906" indent="-181818" algn="l" defTabSz="727272" rtl="0" eaLnBrk="1" latinLnBrk="0" hangingPunct="1">
              <a:lnSpc>
                <a:spcPct val="90000"/>
              </a:lnSpc>
              <a:spcBef>
                <a:spcPts val="398"/>
              </a:spcBef>
              <a:buFont typeface="Arial" panose="020B0604020202020204" pitchFamily="34" charset="0"/>
              <a:buChar char="•"/>
              <a:defRPr sz="143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727272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A06F2A"/>
                </a:solidFill>
                <a:effectLst/>
                <a:uLnTx/>
                <a:uFillTx/>
                <a:latin typeface="Inter" panose="02000803000000020004" pitchFamily="50" charset="0"/>
                <a:ea typeface="Inter" panose="02000803000000020004" pitchFamily="50" charset="0"/>
                <a:cs typeface="Inter" panose="02000803000000020004" pitchFamily="50" charset="0"/>
              </a:rPr>
              <a:t>Лечение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9AD625E-4172-43C6-994F-F94EE2B11143}"/>
              </a:ext>
            </a:extLst>
          </p:cNvPr>
          <p:cNvSpPr txBox="1"/>
          <p:nvPr/>
        </p:nvSpPr>
        <p:spPr>
          <a:xfrm>
            <a:off x="4497348" y="1034050"/>
            <a:ext cx="321665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A06F2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Л.И. Алексеева  и соавт., 2016)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0" y="6317374"/>
            <a:ext cx="12211346" cy="60965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14">
            <a:duotone>
              <a:prstClr val="black"/>
              <a:srgbClr val="7CC5C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68211" b="83387" l="71406" r="86422">
                        <a14:foregroundMark x1="83706" y1="70607" x2="83706" y2="70607"/>
                        <a14:foregroundMark x1="78435" y1="74760" x2="78435" y2="74760"/>
                        <a14:foregroundMark x1="78435" y1="78594" x2="78435" y2="78594"/>
                        <a14:foregroundMark x1="76997" y1="71406" x2="76997" y2="71406"/>
                        <a14:foregroundMark x1="81470" y1="70288" x2="81470" y2="70288"/>
                        <a14:foregroundMark x1="75879" y1="69808" x2="75879" y2="69808"/>
                        <a14:foregroundMark x1="82428" y1="80032" x2="82428" y2="80032"/>
                        <a14:foregroundMark x1="81310" y1="81150" x2="81310" y2="81150"/>
                        <a14:foregroundMark x1="80351" y1="78594" x2="80351" y2="77476"/>
                        <a14:foregroundMark x1="78754" y1="80192" x2="78754" y2="80192"/>
                        <a14:foregroundMark x1="78914" y1="79233" x2="78914" y2="79233"/>
                        <a14:foregroundMark x1="72524" y1="68211" x2="72524" y2="68211"/>
                        <a14:foregroundMark x1="71406" y1="70447" x2="71406" y2="70447"/>
                        <a14:foregroundMark x1="86581" y1="71246" x2="86581" y2="71246"/>
                        <a14:foregroundMark x1="82588" y1="83387" x2="82588" y2="8338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70675" t="67515" r="12616" b="15675"/>
          <a:stretch/>
        </p:blipFill>
        <p:spPr>
          <a:xfrm>
            <a:off x="9137084" y="2105428"/>
            <a:ext cx="922465" cy="935103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8707009" y="3084295"/>
            <a:ext cx="178261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F0CB6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6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0CB6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центров </a:t>
            </a:r>
          </a:p>
        </p:txBody>
      </p:sp>
      <p:cxnSp>
        <p:nvCxnSpPr>
          <p:cNvPr id="10" name="Прямая со стрелкой 9"/>
          <p:cNvCxnSpPr/>
          <p:nvPr/>
        </p:nvCxnSpPr>
        <p:spPr>
          <a:xfrm>
            <a:off x="2838879" y="4049295"/>
            <a:ext cx="2279031" cy="0"/>
          </a:xfrm>
          <a:prstGeom prst="straightConnector1">
            <a:avLst/>
          </a:prstGeom>
          <a:ln w="28575">
            <a:solidFill>
              <a:srgbClr val="7CC5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 стрелкой 33"/>
          <p:cNvCxnSpPr/>
          <p:nvPr/>
        </p:nvCxnSpPr>
        <p:spPr>
          <a:xfrm>
            <a:off x="7116417" y="4049295"/>
            <a:ext cx="1621183" cy="0"/>
          </a:xfrm>
          <a:prstGeom prst="straightConnector1">
            <a:avLst/>
          </a:prstGeom>
          <a:ln w="28575">
            <a:solidFill>
              <a:srgbClr val="7CC5C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833121" y="4261643"/>
            <a:ext cx="398397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A06F2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омбинация 500 мг ГА и 500 мг ХС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A06F2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ервые 3 </a:t>
            </a:r>
            <a:r>
              <a:rPr kumimoji="0" lang="ru-RU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A06F2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д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A06F2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 – по 1 таб. 3 раза/день, 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A06F2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Затем – по 1 таб. 1 раз/день в течение 3 мес. 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A06F2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 фоне стандартной терапии БНС (НПВП)</a:t>
            </a: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 rotWithShape="1">
          <a:blip r:embed="rId16">
            <a:duotone>
              <a:prstClr val="black"/>
              <a:srgbClr val="7CC5C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42652" b="57668" l="42173" r="57029">
                        <a14:foregroundMark x1="51438" y1="48722" x2="51438" y2="48722"/>
                        <a14:foregroundMark x1="48882" y1="51278" x2="48882" y2="51278"/>
                        <a14:foregroundMark x1="50160" y1="51278" x2="50160" y2="51278"/>
                        <a14:foregroundMark x1="46486" y1="51917" x2="46486" y2="51917"/>
                        <a14:foregroundMark x1="45367" y1="52077" x2="45367" y2="52077"/>
                        <a14:foregroundMark x1="52396" y1="54633" x2="52396" y2="54633"/>
                        <a14:foregroundMark x1="53674" y1="54952" x2="53674" y2="54952"/>
                        <a14:foregroundMark x1="53834" y1="57827" x2="53834" y2="57827"/>
                        <a14:foregroundMark x1="57029" y1="56550" x2="57029" y2="56550"/>
                        <a14:foregroundMark x1="42332" y1="56390" x2="42332" y2="56390"/>
                        <a14:foregroundMark x1="51118" y1="42652" x2="51118" y2="42652"/>
                        <a14:foregroundMark x1="49042" y1="44409" x2="49042" y2="44409"/>
                        <a14:foregroundMark x1="49681" y1="45367" x2="49681" y2="45367"/>
                        <a14:foregroundMark x1="49521" y1="55591" x2="49521" y2="55591"/>
                        <a14:foregroundMark x1="48403" y1="55272" x2="48403" y2="55272"/>
                        <a14:foregroundMark x1="48403" y1="54633" x2="48403" y2="54633"/>
                        <a14:foregroundMark x1="48403" y1="53674" x2="48403" y2="53674"/>
                        <a14:foregroundMark x1="49521" y1="53674" x2="49521" y2="53674"/>
                        <a14:foregroundMark x1="50799" y1="54313" x2="50799" y2="54313"/>
                        <a14:foregroundMark x1="50799" y1="53195" x2="50799" y2="53195"/>
                        <a14:foregroundMark x1="50799" y1="50639" x2="50799" y2="50639"/>
                        <a14:foregroundMark x1="50639" y1="49361" x2="50639" y2="49361"/>
                        <a14:foregroundMark x1="46006" y1="54633" x2="46006" y2="54633"/>
                        <a14:foregroundMark x1="44728" y1="55431" x2="44728" y2="55431"/>
                        <a14:foregroundMark x1="47125" y1="55272" x2="47125" y2="55272"/>
                        <a14:foregroundMark x1="47125" y1="54313" x2="47125" y2="54313"/>
                        <a14:foregroundMark x1="51917" y1="55591" x2="51917" y2="55591"/>
                        <a14:foregroundMark x1="53035" y1="55751" x2="53035" y2="55751"/>
                        <a14:foregroundMark x1="53994" y1="55911" x2="53994" y2="55911"/>
                        <a14:foregroundMark x1="52875" y1="51757" x2="52875" y2="51757"/>
                        <a14:foregroundMark x1="53514" y1="52077" x2="53514" y2="52077"/>
                        <a14:foregroundMark x1="53514" y1="52077" x2="53514" y2="52077"/>
                        <a14:foregroundMark x1="51917" y1="51438" x2="51917" y2="51438"/>
                        <a14:foregroundMark x1="52236" y1="51278" x2="52236" y2="51278"/>
                        <a14:foregroundMark x1="51757" y1="51118" x2="51757" y2="51118"/>
                        <a14:foregroundMark x1="52236" y1="51278" x2="52236" y2="51278"/>
                        <a14:foregroundMark x1="52236" y1="51597" x2="52236" y2="51597"/>
                        <a14:foregroundMark x1="52236" y1="51438" x2="52236" y2="51438"/>
                        <a14:foregroundMark x1="52236" y1="51278" x2="52236" y2="51278"/>
                        <a14:foregroundMark x1="53674" y1="51917" x2="53674" y2="51917"/>
                        <a14:foregroundMark x1="52396" y1="51278" x2="52396" y2="51278"/>
                        <a14:foregroundMark x1="52396" y1="51597" x2="52396" y2="51597"/>
                        <a14:foregroundMark x1="53994" y1="52236" x2="53994" y2="52236"/>
                        <a14:foregroundMark x1="53674" y1="51597" x2="53674" y2="51597"/>
                        <a14:foregroundMark x1="53994" y1="52077" x2="53994" y2="52077"/>
                        <a14:foregroundMark x1="52716" y1="51118" x2="52716" y2="51118"/>
                        <a14:foregroundMark x1="52396" y1="50958" x2="52396" y2="50958"/>
                        <a14:foregroundMark x1="53514" y1="52077" x2="53514" y2="52077"/>
                        <a14:foregroundMark x1="53514" y1="52236" x2="53514" y2="52236"/>
                        <a14:foregroundMark x1="53514" y1="52077" x2="53514" y2="52077"/>
                        <a14:foregroundMark x1="53674" y1="52077" x2="53674" y2="52077"/>
                        <a14:foregroundMark x1="53514" y1="52077" x2="53514" y2="52077"/>
                        <a14:foregroundMark x1="52396" y1="51438" x2="52396" y2="51438"/>
                        <a14:foregroundMark x1="51917" y1="51278" x2="51917" y2="51278"/>
                        <a14:foregroundMark x1="51917" y1="51278" x2="52236" y2="51278"/>
                        <a14:foregroundMark x1="52556" y1="51278" x2="52556" y2="51278"/>
                        <a14:foregroundMark x1="53195" y1="51438" x2="53195" y2="51438"/>
                        <a14:foregroundMark x1="53834" y1="51917" x2="53994" y2="52077"/>
                        <a14:backgroundMark x1="53514" y1="51917" x2="53514" y2="51917"/>
                        <a14:backgroundMark x1="52236" y1="51278" x2="52236" y2="51278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1084" t="41768" r="41978" b="41523"/>
          <a:stretch/>
        </p:blipFill>
        <p:spPr>
          <a:xfrm>
            <a:off x="5753680" y="2144809"/>
            <a:ext cx="1009935" cy="934354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5603947" y="3031989"/>
            <a:ext cx="165367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F0CB6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2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0CB6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города</a:t>
            </a:r>
          </a:p>
        </p:txBody>
      </p:sp>
      <p:sp>
        <p:nvSpPr>
          <p:cNvPr id="44" name="Нижний колонтитул 3">
            <a:extLst>
              <a:ext uri="{FF2B5EF4-FFF2-40B4-BE49-F238E27FC236}">
                <a16:creationId xmlns:a16="http://schemas.microsoft.com/office/drawing/2014/main" id="{1F1CBD5E-13E4-40A8-904F-2019C3C3F369}"/>
              </a:ext>
            </a:extLst>
          </p:cNvPr>
          <p:cNvSpPr txBox="1">
            <a:spLocks/>
          </p:cNvSpPr>
          <p:nvPr/>
        </p:nvSpPr>
        <p:spPr>
          <a:xfrm>
            <a:off x="848340" y="6343613"/>
            <a:ext cx="1061388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A06F2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Алексеева Л.И. и др. Научно-практическая ревматология. 2016;54(1):16-20</a:t>
            </a:r>
          </a:p>
        </p:txBody>
      </p:sp>
    </p:spTree>
    <p:extLst>
      <p:ext uri="{BB962C8B-B14F-4D97-AF65-F5344CB8AC3E}">
        <p14:creationId xmlns:p14="http://schemas.microsoft.com/office/powerpoint/2010/main" val="385605259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Рисунок 15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-15624" y="5530722"/>
            <a:ext cx="1115665" cy="762066"/>
          </a:xfrm>
          <a:prstGeom prst="rect">
            <a:avLst/>
          </a:prstGeom>
        </p:spPr>
      </p:pic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EAE27A46-293E-46AA-8213-83F1EA842E3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19" imgW="425" imgH="424" progId="TCLayout.ActiveDocument.1">
                  <p:embed/>
                </p:oleObj>
              </mc:Choice>
              <mc:Fallback>
                <p:oleObj name="think-cell Slide" r:id="rId19" imgW="425" imgH="424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EAE27A46-293E-46AA-8213-83F1EA842E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CE8C98FA-A89A-4D9B-A379-F67383CC5A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EDA870-630B-4DE6-83FA-C73B4D13AF29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3" name="Заголовок 70">
            <a:extLst>
              <a:ext uri="{FF2B5EF4-FFF2-40B4-BE49-F238E27FC236}">
                <a16:creationId xmlns:a16="http://schemas.microsoft.com/office/drawing/2014/main" id="{5F23C484-820C-46AF-8B79-B1E4236CB739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726282" y="157351"/>
            <a:ext cx="11160125" cy="657225"/>
          </a:xfrm>
        </p:spPr>
        <p:txBody>
          <a:bodyPr vert="horz">
            <a:normAutofit/>
          </a:bodyPr>
          <a:lstStyle/>
          <a:p>
            <a:r>
              <a:rPr lang="ru-RU" sz="2900" dirty="0">
                <a:solidFill>
                  <a:srgbClr val="A06F2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бинация ХС и ГА – перспективное средство лечения БНС</a:t>
            </a:r>
          </a:p>
        </p:txBody>
      </p:sp>
      <p:graphicFrame>
        <p:nvGraphicFramePr>
          <p:cNvPr id="91" name="Chart 90">
            <a:extLst>
              <a:ext uri="{FF2B5EF4-FFF2-40B4-BE49-F238E27FC236}">
                <a16:creationId xmlns:a16="http://schemas.microsoft.com/office/drawing/2014/main" id="{DD94A99C-0AA1-42DB-AEBA-A1540CA37D9E}"/>
              </a:ext>
            </a:extLst>
          </p:cNvPr>
          <p:cNvGraphicFramePr/>
          <p:nvPr>
            <p:custDataLst>
              <p:tags r:id="rId3"/>
            </p:custDataLst>
          </p:nvPr>
        </p:nvGraphicFramePr>
        <p:xfrm>
          <a:off x="3860627" y="1899037"/>
          <a:ext cx="4355325" cy="29759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1"/>
          </a:graphicData>
        </a:graphic>
      </p:graphicFrame>
      <p:cxnSp>
        <p:nvCxnSpPr>
          <p:cNvPr id="58" name="Прямая соединительная линия 57">
            <a:extLst>
              <a:ext uri="{FF2B5EF4-FFF2-40B4-BE49-F238E27FC236}">
                <a16:creationId xmlns:a16="http://schemas.microsoft.com/office/drawing/2014/main" id="{0D4C45A1-DD62-40EB-9F6B-572F2F34A4AE}"/>
              </a:ext>
            </a:extLst>
          </p:cNvPr>
          <p:cNvCxnSpPr>
            <a:stCxn id="54" idx="5"/>
          </p:cNvCxnSpPr>
          <p:nvPr>
            <p:custDataLst>
              <p:tags r:id="rId4"/>
            </p:custDataLst>
          </p:nvPr>
        </p:nvCxnSpPr>
        <p:spPr bwMode="auto">
          <a:xfrm flipH="1">
            <a:off x="5448513" y="2383367"/>
            <a:ext cx="2002" cy="1527150"/>
          </a:xfrm>
          <a:prstGeom prst="line">
            <a:avLst/>
          </a:prstGeom>
          <a:ln w="19050" cap="flat" cmpd="sng" algn="ctr">
            <a:solidFill>
              <a:srgbClr val="A06F2A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6" name="Прямая соединительная линия 65">
            <a:extLst>
              <a:ext uri="{FF2B5EF4-FFF2-40B4-BE49-F238E27FC236}">
                <a16:creationId xmlns:a16="http://schemas.microsoft.com/office/drawing/2014/main" id="{1BC86520-946B-4D46-ABD1-1962A1D841F0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H="1" flipV="1">
            <a:off x="2649542" y="1058193"/>
            <a:ext cx="1" cy="65111"/>
          </a:xfrm>
          <a:prstGeom prst="line">
            <a:avLst/>
          </a:prstGeom>
          <a:ln w="19050" cap="flat" cmpd="sng" algn="ctr">
            <a:solidFill>
              <a:srgbClr val="A06F2A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>
            <a:extLst>
              <a:ext uri="{FF2B5EF4-FFF2-40B4-BE49-F238E27FC236}">
                <a16:creationId xmlns:a16="http://schemas.microsoft.com/office/drawing/2014/main" id="{EA8BA684-B1EA-41A9-9E0D-CF5FCBB9255C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7479090" y="1678202"/>
            <a:ext cx="8830" cy="1875983"/>
          </a:xfrm>
          <a:prstGeom prst="line">
            <a:avLst/>
          </a:prstGeom>
          <a:ln w="19050" cap="flat" cmpd="sng" algn="ctr">
            <a:solidFill>
              <a:srgbClr val="A06F2A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5" name="Текст 2">
            <a:extLst>
              <a:ext uri="{FF2B5EF4-FFF2-40B4-BE49-F238E27FC236}">
                <a16:creationId xmlns:a16="http://schemas.microsoft.com/office/drawing/2014/main" id="{3368EA24-4176-45E0-86B9-868F3944BC87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4720505" y="4840794"/>
            <a:ext cx="884251" cy="156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C535143-C2A2-4518-B695-F8C9079875AB}" type="datetime'''Б''''''''о''''л''''''''''ь'''''''''''' ''в п''о''к''о''е'">
              <a:rPr kumimoji="0" lang="ru-RU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A06F2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Боль в покое</a:t>
            </a:fld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A06F2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5" name="Текст 2">
            <a:extLst>
              <a:ext uri="{FF2B5EF4-FFF2-40B4-BE49-F238E27FC236}">
                <a16:creationId xmlns:a16="http://schemas.microsoft.com/office/drawing/2014/main" id="{1302DDC2-5623-42E7-B0B1-FF99C0AE8A30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492984" y="4827575"/>
            <a:ext cx="1326377" cy="156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F3BC0D6-061D-49D8-9910-EEF283AEBFB6}" type="datetime'''Б''ол''''''ь пр''''и дви''же''''''''''''''''''''''н''ии'">
              <a:rPr kumimoji="0" lang="ru-RU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A06F2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Боль при движении</a:t>
            </a:fld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A06F2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1" name="Текст 2">
            <a:extLst>
              <a:ext uri="{FF2B5EF4-FFF2-40B4-BE49-F238E27FC236}">
                <a16:creationId xmlns:a16="http://schemas.microsoft.com/office/drawing/2014/main" id="{3368EA24-4176-45E0-86B9-868F3944BC87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4639019" y="2504579"/>
            <a:ext cx="241747" cy="156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315180A3-9E5F-4748-AC22-A9E57E621F9D}" type="datetime'5'''''''''',''''''''''2'">
              <a:rPr kumimoji="0" lang="ru-RU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A06F2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5,2</a:t>
            </a:fld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A06F2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4" name="Текст 2">
            <a:extLst>
              <a:ext uri="{FF2B5EF4-FFF2-40B4-BE49-F238E27FC236}">
                <a16:creationId xmlns:a16="http://schemas.microsoft.com/office/drawing/2014/main" id="{3368EA24-4176-45E0-86B9-868F3944BC87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5363009" y="4032754"/>
            <a:ext cx="241747" cy="156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04A3A9D6-405B-4023-AD79-662ED677822C}" type="datetime'''''''1'',''''''''''''''''''''''''''''''''''''''''''''4'''''''">
              <a:rPr kumimoji="0" lang="ru-RU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A06F2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,4</a:t>
            </a:fld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A06F2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5" name="Текст 2">
            <a:extLst>
              <a:ext uri="{FF2B5EF4-FFF2-40B4-BE49-F238E27FC236}">
                <a16:creationId xmlns:a16="http://schemas.microsoft.com/office/drawing/2014/main" id="{3368EA24-4176-45E0-86B9-868F3944BC87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6669596" y="1883907"/>
            <a:ext cx="241747" cy="156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95DEBFE-7137-41ED-A5AF-697CEEB15E56}" type="datetime'''''''''''''''''''6'''''''''''''',''8'''''''''''">
              <a:rPr kumimoji="0" lang="ru-RU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A06F2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6,8</a:t>
            </a:fld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A06F2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6" name="Текст 2">
            <a:extLst>
              <a:ext uri="{FF2B5EF4-FFF2-40B4-BE49-F238E27FC236}">
                <a16:creationId xmlns:a16="http://schemas.microsoft.com/office/drawing/2014/main" id="{3368EA24-4176-45E0-86B9-868F3944BC87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7368348" y="3727333"/>
            <a:ext cx="241747" cy="156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C5B4DD0-8B5B-4175-A1DF-13C3E8B81CD6}" type="datetime'''''''''2'''''''''''',''''2'''''''''''''''''">
              <a:rPr kumimoji="0" lang="ru-RU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A06F2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2,2</a:t>
            </a:fld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A06F2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3" name="Текст 2">
            <a:extLst>
              <a:ext uri="{FF2B5EF4-FFF2-40B4-BE49-F238E27FC236}">
                <a16:creationId xmlns:a16="http://schemas.microsoft.com/office/drawing/2014/main" id="{3368EA24-4176-45E0-86B9-868F3944BC87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636253" y="2046204"/>
            <a:ext cx="176958" cy="7782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A06F2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аллы ВАШ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A06F2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4" name="Текст 2">
            <a:extLst>
              <a:ext uri="{FF2B5EF4-FFF2-40B4-BE49-F238E27FC236}">
                <a16:creationId xmlns:a16="http://schemas.microsoft.com/office/drawing/2014/main" id="{3368EA24-4176-45E0-86B9-868F3944BC87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806354" y="2162218"/>
            <a:ext cx="754682" cy="259092"/>
          </a:xfrm>
          <a:prstGeom prst="ellipse">
            <a:avLst/>
          </a:prstGeom>
          <a:solidFill>
            <a:schemeClr val="bg1"/>
          </a:solidFill>
          <a:ln w="19050" algn="ctr">
            <a:solidFill>
              <a:srgbClr val="A06F2A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1C82AD3-E8EE-4385-B2D6-088AD9CA0B1F}" type="datetime'''-''''''''''''''''7''''''3'''''''''''''',''''''''''1%'">
              <a:rPr kumimoji="0" lang="ru-RU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0CB6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-73,1%</a:t>
            </a:fld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F0CB6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4" name="Текст 2">
            <a:extLst>
              <a:ext uri="{FF2B5EF4-FFF2-40B4-BE49-F238E27FC236}">
                <a16:creationId xmlns:a16="http://schemas.microsoft.com/office/drawing/2014/main" id="{3368EA24-4176-45E0-86B9-868F3944BC87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6850638" y="1564169"/>
            <a:ext cx="710767" cy="244016"/>
          </a:xfrm>
          <a:prstGeom prst="ellipse">
            <a:avLst/>
          </a:prstGeom>
          <a:solidFill>
            <a:schemeClr val="bg1"/>
          </a:solidFill>
          <a:ln w="19050" algn="ctr">
            <a:solidFill>
              <a:srgbClr val="A06F2A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58E9393A-D4F7-47A9-8812-DE53302E1F44}" type="datetime'''''''''-''''''''''''''''''6''7'',''6''''''''''''''%'''''">
              <a:rPr kumimoji="0" lang="ru-RU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F0CB6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-67,6%</a:t>
            </a:fld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F0CB69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3" name="Текст 2">
            <a:extLst>
              <a:ext uri="{FF2B5EF4-FFF2-40B4-BE49-F238E27FC236}">
                <a16:creationId xmlns:a16="http://schemas.microsoft.com/office/drawing/2014/main" id="{3368EA24-4176-45E0-86B9-868F3944BC87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3860627" y="897495"/>
            <a:ext cx="4059238" cy="469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250825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A06F2A"/>
                </a:solidFill>
                <a:effectLst/>
                <a:uLnTx/>
                <a:uFillTx/>
                <a:latin typeface="Inter" panose="02000803000000020004" pitchFamily="50" charset="0"/>
                <a:ea typeface="Inter" panose="02000803000000020004" pitchFamily="50" charset="0"/>
                <a:cs typeface="Inter" panose="02000803000000020004" pitchFamily="50" charset="0"/>
              </a:rPr>
              <a:t>Динамика боли в покое и при движении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A06F2A"/>
              </a:solidFill>
              <a:effectLst/>
              <a:uLnTx/>
              <a:uFillTx/>
              <a:latin typeface="Inter" panose="02000803000000020004" pitchFamily="50" charset="0"/>
              <a:ea typeface="Inter" panose="02000803000000020004" pitchFamily="50" charset="0"/>
              <a:cs typeface="Inter" panose="02000803000000020004" pitchFamily="50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132EC900-207F-4DAC-8058-E5C6B6E6EBDF}"/>
              </a:ext>
            </a:extLst>
          </p:cNvPr>
          <p:cNvSpPr txBox="1"/>
          <p:nvPr/>
        </p:nvSpPr>
        <p:spPr>
          <a:xfrm>
            <a:off x="3860627" y="4972729"/>
            <a:ext cx="79763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A06F2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&lt;0,0001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840126A-D755-4663-9711-B26B7E89BF6E}"/>
              </a:ext>
            </a:extLst>
          </p:cNvPr>
          <p:cNvSpPr txBox="1"/>
          <p:nvPr/>
        </p:nvSpPr>
        <p:spPr>
          <a:xfrm>
            <a:off x="4706813" y="1122344"/>
            <a:ext cx="261392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A06F2A"/>
                </a:solidFill>
                <a:effectLst/>
                <a:uLnTx/>
                <a:uFillTx/>
                <a:latin typeface="Inter" panose="02000803000000020004" pitchFamily="50" charset="0"/>
                <a:ea typeface="Inter" panose="02000803000000020004" pitchFamily="50" charset="0"/>
                <a:cs typeface="Inter" panose="02000803000000020004" pitchFamily="50" charset="0"/>
              </a:rPr>
              <a:t>(Алексеева Л.И. и </a:t>
            </a:r>
            <a:r>
              <a: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A06F2A"/>
                </a:solidFill>
                <a:effectLst/>
                <a:uLnTx/>
                <a:uFillTx/>
                <a:latin typeface="Inter" panose="02000803000000020004" pitchFamily="50" charset="0"/>
                <a:ea typeface="Inter" panose="02000803000000020004" pitchFamily="50" charset="0"/>
                <a:cs typeface="Inter" panose="02000803000000020004" pitchFamily="50" charset="0"/>
              </a:rPr>
              <a:t>соавт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A06F2A"/>
                </a:solidFill>
                <a:effectLst/>
                <a:uLnTx/>
                <a:uFillTx/>
                <a:latin typeface="Inter" panose="02000803000000020004" pitchFamily="50" charset="0"/>
                <a:ea typeface="Inter" panose="02000803000000020004" pitchFamily="50" charset="0"/>
                <a:cs typeface="Inter" panose="02000803000000020004" pitchFamily="50" charset="0"/>
              </a:rPr>
              <a:t>., 2016)</a:t>
            </a: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-7153" y="5536819"/>
            <a:ext cx="12199153" cy="762066"/>
          </a:xfrm>
          <a:prstGeom prst="rect">
            <a:avLst/>
          </a:prstGeom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AD4102B1-A394-4AD6-B569-31952E199251}"/>
              </a:ext>
            </a:extLst>
          </p:cNvPr>
          <p:cNvSpPr txBox="1"/>
          <p:nvPr/>
        </p:nvSpPr>
        <p:spPr>
          <a:xfrm>
            <a:off x="1100041" y="5563909"/>
            <a:ext cx="110237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A06F2A"/>
                </a:solidFill>
                <a:effectLst/>
                <a:uLnTx/>
                <a:uFillTx/>
                <a:latin typeface="Inter" panose="02000803000000020004" pitchFamily="50" charset="0"/>
                <a:ea typeface="Inter" panose="02000803000000020004" pitchFamily="50" charset="0"/>
                <a:cs typeface="Inter" panose="02000803000000020004" pitchFamily="50" charset="0"/>
              </a:rPr>
              <a:t>Через 3 месяца пациенты отметили стойкое снижение выраженности боли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A06F2A"/>
                </a:solidFill>
                <a:effectLst/>
                <a:uLnTx/>
                <a:uFillTx/>
                <a:latin typeface="Inter" panose="02000803000000020004" pitchFamily="50" charset="0"/>
                <a:ea typeface="Inter" panose="02000803000000020004" pitchFamily="50" charset="0"/>
                <a:cs typeface="Inter" panose="02000803000000020004" pitchFamily="50" charset="0"/>
              </a:rPr>
              <a:t>более чем в 3 раза 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A06F2A"/>
                </a:solidFill>
                <a:effectLst/>
                <a:uLnTx/>
                <a:uFillTx/>
                <a:latin typeface="Inter" panose="02000803000000020004" pitchFamily="50" charset="0"/>
                <a:ea typeface="Inter" panose="02000803000000020004" pitchFamily="50" charset="0"/>
                <a:cs typeface="Inter" panose="02000803000000020004" pitchFamily="50" charset="0"/>
              </a:rPr>
              <a:t>как в покое, так и в движении.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948627" y="5524625"/>
            <a:ext cx="280440" cy="774259"/>
          </a:xfrm>
          <a:prstGeom prst="rect">
            <a:avLst/>
          </a:prstGeom>
        </p:spPr>
      </p:pic>
      <p:sp>
        <p:nvSpPr>
          <p:cNvPr id="38" name="TextBox 37"/>
          <p:cNvSpPr txBox="1"/>
          <p:nvPr/>
        </p:nvSpPr>
        <p:spPr>
          <a:xfrm>
            <a:off x="4435410" y="3547185"/>
            <a:ext cx="7369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A06F2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изит 1</a:t>
            </a:r>
          </a:p>
        </p:txBody>
      </p:sp>
      <p:sp>
        <p:nvSpPr>
          <p:cNvPr id="55" name="TextBox 54"/>
          <p:cNvSpPr txBox="1"/>
          <p:nvPr/>
        </p:nvSpPr>
        <p:spPr>
          <a:xfrm>
            <a:off x="6419194" y="3124793"/>
            <a:ext cx="7369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A06F2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изит 1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5157043" y="4367062"/>
            <a:ext cx="72941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A06F2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изит 2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7136861" y="4228361"/>
            <a:ext cx="72941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A06F2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изит 2</a:t>
            </a:r>
          </a:p>
        </p:txBody>
      </p:sp>
      <p:sp>
        <p:nvSpPr>
          <p:cNvPr id="32" name="Нижний колонтитул 3">
            <a:extLst>
              <a:ext uri="{FF2B5EF4-FFF2-40B4-BE49-F238E27FC236}">
                <a16:creationId xmlns:a16="http://schemas.microsoft.com/office/drawing/2014/main" id="{04C3995C-4CC4-46AA-BF99-B37121AC8CAE}"/>
              </a:ext>
            </a:extLst>
          </p:cNvPr>
          <p:cNvSpPr txBox="1">
            <a:spLocks/>
          </p:cNvSpPr>
          <p:nvPr/>
        </p:nvSpPr>
        <p:spPr>
          <a:xfrm>
            <a:off x="999403" y="6268549"/>
            <a:ext cx="1061388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srgbClr val="A06F2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Алексеева Л.И. и др. Научно-практическая ревматология. 2016;54(1):16-20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A06F2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141483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EAE27A46-293E-46AA-8213-83F1EA842E3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16" imgW="425" imgH="424" progId="TCLayout.ActiveDocument.1">
                  <p:embed/>
                </p:oleObj>
              </mc:Choice>
              <mc:Fallback>
                <p:oleObj name="think-cell Slide" r:id="rId16" imgW="425" imgH="424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EAE27A46-293E-46AA-8213-83F1EA842E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CE8C98FA-A89A-4D9B-A379-F67383CC5A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EDA870-630B-4DE6-83FA-C73B4D13AF29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2" name="Заголовок 70">
            <a:extLst>
              <a:ext uri="{FF2B5EF4-FFF2-40B4-BE49-F238E27FC236}">
                <a16:creationId xmlns:a16="http://schemas.microsoft.com/office/drawing/2014/main" id="{E6042FCF-A365-4545-9E53-DCD80C3BF89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1310640" y="109733"/>
            <a:ext cx="10774680" cy="657225"/>
          </a:xfrm>
        </p:spPr>
        <p:txBody>
          <a:bodyPr vert="horz">
            <a:normAutofit/>
          </a:bodyPr>
          <a:lstStyle/>
          <a:p>
            <a:r>
              <a:rPr lang="ru-RU" sz="2900" dirty="0">
                <a:solidFill>
                  <a:srgbClr val="A06F2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бинация ХС и ГА – перспективное средство лечения БНС</a:t>
            </a:r>
          </a:p>
        </p:txBody>
      </p:sp>
      <p:sp>
        <p:nvSpPr>
          <p:cNvPr id="85" name="Текст 2">
            <a:extLst>
              <a:ext uri="{FF2B5EF4-FFF2-40B4-BE49-F238E27FC236}">
                <a16:creationId xmlns:a16="http://schemas.microsoft.com/office/drawing/2014/main" id="{C3333513-FD0F-458E-8A50-01041F81A08C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027227" y="1242842"/>
            <a:ext cx="3564700" cy="2846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A06F2A"/>
                </a:solidFill>
                <a:effectLst/>
                <a:uLnTx/>
                <a:uFillTx/>
                <a:latin typeface="Inter" panose="02000803000000020004" pitchFamily="50" charset="0"/>
                <a:ea typeface="Inter" panose="02000803000000020004" pitchFamily="50" charset="0"/>
                <a:cs typeface="Inter" panose="02000803000000020004" pitchFamily="50" charset="0"/>
              </a:rPr>
              <a:t>Эффективность лечения, баллы: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A06F2A"/>
              </a:solidFill>
              <a:effectLst/>
              <a:uLnTx/>
              <a:uFillTx/>
              <a:latin typeface="Inter" panose="02000803000000020004" pitchFamily="50" charset="0"/>
              <a:ea typeface="Inter" panose="02000803000000020004" pitchFamily="50" charset="0"/>
              <a:cs typeface="Inter" panose="02000803000000020004" pitchFamily="50" charset="0"/>
            </a:endParaRPr>
          </a:p>
        </p:txBody>
      </p:sp>
      <p:graphicFrame>
        <p:nvGraphicFramePr>
          <p:cNvPr id="111" name="Chart 110">
            <a:extLst>
              <a:ext uri="{FF2B5EF4-FFF2-40B4-BE49-F238E27FC236}">
                <a16:creationId xmlns:a16="http://schemas.microsoft.com/office/drawing/2014/main" id="{69D30B26-A4D1-4FC6-86CF-C6D8513A47C4}"/>
              </a:ext>
            </a:extLst>
          </p:cNvPr>
          <p:cNvGraphicFramePr/>
          <p:nvPr>
            <p:custDataLst>
              <p:tags r:id="rId4"/>
            </p:custDataLst>
          </p:nvPr>
        </p:nvGraphicFramePr>
        <p:xfrm>
          <a:off x="1310640" y="1797666"/>
          <a:ext cx="4532312" cy="3273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A981D65E-FC2B-4B56-8A00-D7CB48900BFB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2771140" y="1934191"/>
            <a:ext cx="1992312" cy="0"/>
          </a:xfrm>
          <a:prstGeom prst="line">
            <a:avLst/>
          </a:prstGeom>
          <a:ln w="28575" cap="flat" cmpd="sng" algn="ctr">
            <a:solidFill>
              <a:srgbClr val="A06F2A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47A7DB6D-8C3A-46B8-8C2E-C879369438F1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V="1">
            <a:off x="2771140" y="1934191"/>
            <a:ext cx="0" cy="76200"/>
          </a:xfrm>
          <a:prstGeom prst="line">
            <a:avLst/>
          </a:prstGeom>
          <a:ln w="28575" cap="flat" cmpd="sng" algn="ctr">
            <a:solidFill>
              <a:srgbClr val="A06F2A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09DCE0AB-D382-4F53-A58A-5EA5D856BC20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4763452" y="1934191"/>
            <a:ext cx="0" cy="2439987"/>
          </a:xfrm>
          <a:prstGeom prst="line">
            <a:avLst/>
          </a:prstGeom>
          <a:ln w="28575" cap="flat" cmpd="sng" algn="ctr">
            <a:solidFill>
              <a:srgbClr val="A06F2A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4" name="Текст 2">
            <a:extLst>
              <a:ext uri="{FF2B5EF4-FFF2-40B4-BE49-F238E27FC236}">
                <a16:creationId xmlns:a16="http://schemas.microsoft.com/office/drawing/2014/main" id="{3368EA24-4176-45E0-86B9-868F3944BC87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2494915" y="2048491"/>
            <a:ext cx="55403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4B7DD16B-9C09-4500-8954-8CE581277C2C}" type="datetime'''''''''''''''''''''7''''1'''''''',0%'''''''''''''''''">
              <a:rPr kumimoji="0" lang="ru-RU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A06F2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71,0%</a:t>
            </a:fld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A06F2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1" name="Текст 2">
            <a:extLst>
              <a:ext uri="{FF2B5EF4-FFF2-40B4-BE49-F238E27FC236}">
                <a16:creationId xmlns:a16="http://schemas.microsoft.com/office/drawing/2014/main" id="{3368EA24-4176-45E0-86B9-868F3944BC87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101090" y="1835766"/>
            <a:ext cx="15875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A06F2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%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A06F2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6" name="Текст 2">
            <a:extLst>
              <a:ext uri="{FF2B5EF4-FFF2-40B4-BE49-F238E27FC236}">
                <a16:creationId xmlns:a16="http://schemas.microsoft.com/office/drawing/2014/main" id="{98E3AFBC-BBFA-4E31-99C2-D49D8404F2E5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4536441" y="4412278"/>
            <a:ext cx="45561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400" tIns="0" rIns="25400" bIns="0" numCol="1" spcCol="0" rtlCol="0" anchor="b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2C02B0D-0B46-4275-A574-13E34FD71CB2}" type="datetime'''''''''''''8'',''''''3''''''''''%'''''''''''''''''">
              <a:rPr kumimoji="0" lang="ru-RU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A06F2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8,3%</a:t>
            </a:fld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A06F2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8" name="Текст 2">
            <a:extLst>
              <a:ext uri="{FF2B5EF4-FFF2-40B4-BE49-F238E27FC236}">
                <a16:creationId xmlns:a16="http://schemas.microsoft.com/office/drawing/2014/main" id="{3368EA24-4176-45E0-86B9-868F3944BC87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415540" y="5001241"/>
            <a:ext cx="711200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651777D-82D0-49E2-83E9-9C3F885DA321}" type="datetime'''''''''И''с''х''о''''''''''''''''''д''''н''''''''''''''''''о'">
              <a:rPr kumimoji="0" lang="ru-RU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A06F2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Исходно</a:t>
            </a:fld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A06F2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0" name="Текст 2">
            <a:extLst>
              <a:ext uri="{FF2B5EF4-FFF2-40B4-BE49-F238E27FC236}">
                <a16:creationId xmlns:a16="http://schemas.microsoft.com/office/drawing/2014/main" id="{18E33A10-C3D9-4027-AC4C-72414918D601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345940" y="5001241"/>
            <a:ext cx="836613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71325889-BD7C-4002-B887-9135FC718954}" type="datetime'''''''''Фи''''''н''а''''''''''''''''л''''ь''но'''">
              <a:rPr kumimoji="0" lang="ru-RU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A06F2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Финально</a:t>
            </a:fld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A06F2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3" name="Текст 2">
            <a:extLst>
              <a:ext uri="{FF2B5EF4-FFF2-40B4-BE49-F238E27FC236}">
                <a16:creationId xmlns:a16="http://schemas.microsoft.com/office/drawing/2014/main" id="{3368EA24-4176-45E0-86B9-868F3944BC87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369627" y="1675428"/>
            <a:ext cx="862014" cy="395288"/>
          </a:xfrm>
          <a:prstGeom prst="ellipse">
            <a:avLst/>
          </a:prstGeom>
          <a:solidFill>
            <a:schemeClr val="bg1"/>
          </a:solidFill>
          <a:ln w="28575" algn="ctr">
            <a:solidFill>
              <a:srgbClr val="A06F2A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1ECDB42-ECEB-4774-8E11-F188F9954FF2}" type="datetime'''''''''-''''8''''8'''''',''''''''''''''''''''3%'">
              <a:rPr kumimoji="0" lang="ru-RU" altLang="en-US" sz="1400" b="1" i="0" u="none" strike="noStrike" kern="1200" cap="none" spc="0" normalizeH="0" baseline="0" noProof="0" smtClean="0">
                <a:ln>
                  <a:noFill/>
                </a:ln>
                <a:solidFill>
                  <a:srgbClr val="A06F2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-88,3%</a:t>
            </a:fld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A06F2A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8" name="Текст 2">
            <a:extLst>
              <a:ext uri="{FF2B5EF4-FFF2-40B4-BE49-F238E27FC236}">
                <a16:creationId xmlns:a16="http://schemas.microsoft.com/office/drawing/2014/main" id="{4B936276-930B-426C-BF2D-75313179D330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680527" y="1239968"/>
            <a:ext cx="4162425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A06F2A"/>
                </a:solidFill>
                <a:effectLst/>
                <a:uLnTx/>
                <a:uFillTx/>
                <a:latin typeface="Inter" panose="02000803000000020004" pitchFamily="50" charset="0"/>
                <a:ea typeface="Inter" panose="02000803000000020004" pitchFamily="50" charset="0"/>
                <a:cs typeface="Inter" panose="02000803000000020004" pitchFamily="50" charset="0"/>
              </a:rPr>
              <a:t>Доля пациентов, принимающих НПВП, %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A06F2A"/>
              </a:solidFill>
              <a:effectLst/>
              <a:uLnTx/>
              <a:uFillTx/>
              <a:latin typeface="Inter" panose="02000803000000020004" pitchFamily="50" charset="0"/>
              <a:ea typeface="Inter" panose="02000803000000020004" pitchFamily="50" charset="0"/>
              <a:cs typeface="Inter" panose="02000803000000020004" pitchFamily="50" charset="0"/>
            </a:endParaRPr>
          </a:p>
        </p:txBody>
      </p:sp>
      <p:grpSp>
        <p:nvGrpSpPr>
          <p:cNvPr id="13" name="Группа 12"/>
          <p:cNvGrpSpPr/>
          <p:nvPr/>
        </p:nvGrpSpPr>
        <p:grpSpPr>
          <a:xfrm>
            <a:off x="7046245" y="2501970"/>
            <a:ext cx="2869687" cy="707886"/>
            <a:chOff x="6954062" y="2545502"/>
            <a:chExt cx="2869687" cy="707886"/>
          </a:xfrm>
        </p:grpSpPr>
        <p:sp>
          <p:nvSpPr>
            <p:cNvPr id="83" name="Прямоугольник 82">
              <a:extLst>
                <a:ext uri="{FF2B5EF4-FFF2-40B4-BE49-F238E27FC236}">
                  <a16:creationId xmlns:a16="http://schemas.microsoft.com/office/drawing/2014/main" id="{9049B458-532F-4E5F-A942-C51CC91871E4}"/>
                </a:ext>
              </a:extLst>
            </p:cNvPr>
            <p:cNvSpPr/>
            <p:nvPr/>
          </p:nvSpPr>
          <p:spPr>
            <a:xfrm>
              <a:off x="6954062" y="2557167"/>
              <a:ext cx="1162299" cy="64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600" b="1" i="0" u="none" strike="noStrike" kern="1200" cap="none" spc="0" normalizeH="0" baseline="0" noProof="0" dirty="0">
                  <a:ln>
                    <a:noFill/>
                  </a:ln>
                  <a:solidFill>
                    <a:srgbClr val="F0CB69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4,31</a:t>
              </a: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78629816-0004-4F08-BF58-C287CD942109}"/>
                </a:ext>
              </a:extLst>
            </p:cNvPr>
            <p:cNvSpPr txBox="1"/>
            <p:nvPr/>
          </p:nvSpPr>
          <p:spPr>
            <a:xfrm>
              <a:off x="8033562" y="2545502"/>
              <a:ext cx="1790187" cy="7078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A06F2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оценка пациентов*</a:t>
              </a:r>
            </a:p>
          </p:txBody>
        </p:sp>
      </p:grpSp>
      <p:grpSp>
        <p:nvGrpSpPr>
          <p:cNvPr id="14" name="Группа 13"/>
          <p:cNvGrpSpPr/>
          <p:nvPr/>
        </p:nvGrpSpPr>
        <p:grpSpPr>
          <a:xfrm>
            <a:off x="7027227" y="3358968"/>
            <a:ext cx="3397043" cy="707886"/>
            <a:chOff x="6954062" y="3291314"/>
            <a:chExt cx="3397043" cy="707886"/>
          </a:xfrm>
        </p:grpSpPr>
        <p:sp>
          <p:nvSpPr>
            <p:cNvPr id="210" name="Прямоугольник 209">
              <a:extLst>
                <a:ext uri="{FF2B5EF4-FFF2-40B4-BE49-F238E27FC236}">
                  <a16:creationId xmlns:a16="http://schemas.microsoft.com/office/drawing/2014/main" id="{9A55AA1F-9EF1-4855-8E9D-A0AB0DA19A72}"/>
                </a:ext>
              </a:extLst>
            </p:cNvPr>
            <p:cNvSpPr/>
            <p:nvPr/>
          </p:nvSpPr>
          <p:spPr>
            <a:xfrm>
              <a:off x="6954062" y="3321257"/>
              <a:ext cx="1318569" cy="64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600" b="1" i="0" u="none" strike="noStrike" kern="1200" cap="none" spc="0" normalizeH="0" baseline="0" noProof="0" dirty="0">
                  <a:ln>
                    <a:noFill/>
                  </a:ln>
                  <a:solidFill>
                    <a:srgbClr val="F0CB69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55 %</a:t>
              </a: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F0CB6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8C2F65B7-65D0-40FE-80CB-7B60E8B25A7B}"/>
                </a:ext>
              </a:extLst>
            </p:cNvPr>
            <p:cNvSpPr txBox="1"/>
            <p:nvPr/>
          </p:nvSpPr>
          <p:spPr>
            <a:xfrm>
              <a:off x="8104682" y="3291314"/>
              <a:ext cx="2246423" cy="7078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A06F2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отказались от приема НПВП</a:t>
              </a:r>
            </a:p>
          </p:txBody>
        </p:sp>
      </p:grpSp>
      <p:grpSp>
        <p:nvGrpSpPr>
          <p:cNvPr id="15" name="Группа 14"/>
          <p:cNvGrpSpPr/>
          <p:nvPr/>
        </p:nvGrpSpPr>
        <p:grpSpPr>
          <a:xfrm>
            <a:off x="7046245" y="4229054"/>
            <a:ext cx="3489100" cy="652200"/>
            <a:chOff x="7794056" y="4402221"/>
            <a:chExt cx="3489100" cy="652200"/>
          </a:xfrm>
        </p:grpSpPr>
        <p:sp>
          <p:nvSpPr>
            <p:cNvPr id="211" name="Прямоугольник 210">
              <a:extLst>
                <a:ext uri="{FF2B5EF4-FFF2-40B4-BE49-F238E27FC236}">
                  <a16:creationId xmlns:a16="http://schemas.microsoft.com/office/drawing/2014/main" id="{3788C8CA-5546-420E-AA8E-C5E6DE3AD832}"/>
                </a:ext>
              </a:extLst>
            </p:cNvPr>
            <p:cNvSpPr/>
            <p:nvPr/>
          </p:nvSpPr>
          <p:spPr>
            <a:xfrm>
              <a:off x="7794056" y="4402221"/>
              <a:ext cx="1318569" cy="64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600" b="1" i="0" u="none" strike="noStrike" kern="1200" cap="none" spc="0" normalizeH="0" baseline="0" noProof="0" dirty="0">
                  <a:ln>
                    <a:noFill/>
                  </a:ln>
                  <a:solidFill>
                    <a:srgbClr val="F0CB69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75 %</a:t>
              </a: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F0CB6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64" name="Прямоугольник 210">
              <a:extLst>
                <a:ext uri="{FF2B5EF4-FFF2-40B4-BE49-F238E27FC236}">
                  <a16:creationId xmlns:a16="http://schemas.microsoft.com/office/drawing/2014/main" id="{21CA2775-F85A-4956-BCFB-E2A68A95E93B}"/>
                </a:ext>
              </a:extLst>
            </p:cNvPr>
            <p:cNvSpPr/>
            <p:nvPr/>
          </p:nvSpPr>
          <p:spPr>
            <a:xfrm>
              <a:off x="8943694" y="4408090"/>
              <a:ext cx="2339462" cy="64633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A06F2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отметили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A06F2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улучшение КЖ</a:t>
              </a:r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9BF77AFB-50D5-4E0A-AE9D-C06ABC664BFE}"/>
              </a:ext>
            </a:extLst>
          </p:cNvPr>
          <p:cNvSpPr txBox="1"/>
          <p:nvPr/>
        </p:nvSpPr>
        <p:spPr>
          <a:xfrm>
            <a:off x="8125745" y="5053240"/>
            <a:ext cx="167802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*По 5-балльной шкале</a:t>
            </a:r>
          </a:p>
        </p:txBody>
      </p:sp>
      <p:sp>
        <p:nvSpPr>
          <p:cNvPr id="40" name="Rectangle 39" hidden="1">
            <a:extLst>
              <a:ext uri="{FF2B5EF4-FFF2-40B4-BE49-F238E27FC236}">
                <a16:creationId xmlns:a16="http://schemas.microsoft.com/office/drawing/2014/main" id="{C71CF7E0-DB17-4A79-B247-5D5939CBF7CD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52267794-F94B-4F5A-A720-134657AFEF6A}"/>
              </a:ext>
            </a:extLst>
          </p:cNvPr>
          <p:cNvSpPr txBox="1"/>
          <p:nvPr/>
        </p:nvSpPr>
        <p:spPr>
          <a:xfrm>
            <a:off x="4992054" y="668813"/>
            <a:ext cx="321665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A06F2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Л.И. Алексеева  и соавт., 2016)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-9925" y="5546726"/>
            <a:ext cx="12199153" cy="762066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2165708" y="5573816"/>
            <a:ext cx="985521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A06F2A"/>
                </a:solidFill>
                <a:effectLst/>
                <a:uLnTx/>
                <a:uFillTx/>
                <a:latin typeface="Inter" panose="02000803000000020004" pitchFamily="50" charset="0"/>
                <a:ea typeface="Inter" panose="02000803000000020004" pitchFamily="50" charset="0"/>
                <a:cs typeface="Inter" panose="02000803000000020004" pitchFamily="50" charset="0"/>
              </a:rPr>
              <a:t>Отказ от приема НПВП существенно сократил проявление нежелательных явлений, вызванных НПВП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-9925" y="5540436"/>
            <a:ext cx="2062325" cy="755970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1912180" y="5529263"/>
            <a:ext cx="280440" cy="774259"/>
          </a:xfrm>
          <a:prstGeom prst="rect">
            <a:avLst/>
          </a:prstGeom>
        </p:spPr>
      </p:pic>
      <p:grpSp>
        <p:nvGrpSpPr>
          <p:cNvPr id="12" name="Группа 11"/>
          <p:cNvGrpSpPr/>
          <p:nvPr/>
        </p:nvGrpSpPr>
        <p:grpSpPr>
          <a:xfrm>
            <a:off x="7046245" y="1618796"/>
            <a:ext cx="2284185" cy="707886"/>
            <a:chOff x="6979462" y="1645514"/>
            <a:chExt cx="2284185" cy="707886"/>
          </a:xfrm>
        </p:grpSpPr>
        <p:sp>
          <p:nvSpPr>
            <p:cNvPr id="82" name="Прямоугольник 81">
              <a:extLst>
                <a:ext uri="{FF2B5EF4-FFF2-40B4-BE49-F238E27FC236}">
                  <a16:creationId xmlns:a16="http://schemas.microsoft.com/office/drawing/2014/main" id="{DBE1B354-398C-4E01-B8CD-282B78AABC0A}"/>
                </a:ext>
              </a:extLst>
            </p:cNvPr>
            <p:cNvSpPr/>
            <p:nvPr/>
          </p:nvSpPr>
          <p:spPr>
            <a:xfrm>
              <a:off x="6979462" y="1671062"/>
              <a:ext cx="1079500" cy="648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600" b="1" i="0" u="none" strike="noStrike" kern="1200" cap="none" spc="0" normalizeH="0" baseline="0" noProof="0" dirty="0">
                  <a:ln>
                    <a:noFill/>
                  </a:ln>
                  <a:solidFill>
                    <a:srgbClr val="F0CB69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4,35</a:t>
              </a: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F0CB69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8058962" y="1645514"/>
              <a:ext cx="1204685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A06F2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оценка врачей* </a:t>
              </a:r>
            </a:p>
          </p:txBody>
        </p:sp>
      </p:grpSp>
      <p:sp>
        <p:nvSpPr>
          <p:cNvPr id="38" name="Нижний колонтитул 3">
            <a:extLst>
              <a:ext uri="{FF2B5EF4-FFF2-40B4-BE49-F238E27FC236}">
                <a16:creationId xmlns:a16="http://schemas.microsoft.com/office/drawing/2014/main" id="{04C3995C-4CC4-46AA-BF99-B37121AC8CAE}"/>
              </a:ext>
            </a:extLst>
          </p:cNvPr>
          <p:cNvSpPr txBox="1">
            <a:spLocks/>
          </p:cNvSpPr>
          <p:nvPr/>
        </p:nvSpPr>
        <p:spPr>
          <a:xfrm>
            <a:off x="1180465" y="6303522"/>
            <a:ext cx="1061388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srgbClr val="A06F2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Алексеева Л.И. и др. Научно-практическая ревматология. 2016;54(1):16-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srgbClr val="A06F2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КЖ – качество жизни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A06F2A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952603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889033"/>
            <a:ext cx="12199153" cy="3474719"/>
          </a:xfrm>
          <a:prstGeom prst="rect">
            <a:avLst/>
          </a:prstGeom>
        </p:spPr>
      </p:pic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EAE27A46-293E-46AA-8213-83F1EA842E3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EAE27A46-293E-46AA-8213-83F1EA842E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CE8C98FA-A89A-4D9B-A379-F67383CC5A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EDA870-630B-4DE6-83FA-C73B4D13AF29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Заголовок 70">
            <a:extLst>
              <a:ext uri="{FF2B5EF4-FFF2-40B4-BE49-F238E27FC236}">
                <a16:creationId xmlns:a16="http://schemas.microsoft.com/office/drawing/2014/main" id="{91DC3CF0-0500-4E4A-BAE5-63A10AF9A7BF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71536" y="280170"/>
            <a:ext cx="11160125" cy="657225"/>
          </a:xfrm>
        </p:spPr>
        <p:txBody>
          <a:bodyPr vert="horz">
            <a:normAutofit/>
          </a:bodyPr>
          <a:lstStyle/>
          <a:p>
            <a:r>
              <a:rPr lang="ru-RU" sz="2900" dirty="0">
                <a:solidFill>
                  <a:srgbClr val="A06F2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бинация ХС и ГА – перспективное средство лечения БНС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DA22759-BC16-4488-BAC2-965C5F0D4CA3}"/>
              </a:ext>
            </a:extLst>
          </p:cNvPr>
          <p:cNvSpPr txBox="1"/>
          <p:nvPr/>
        </p:nvSpPr>
        <p:spPr>
          <a:xfrm>
            <a:off x="4656491" y="1115827"/>
            <a:ext cx="359021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A06F2A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Л.И. Алексеева  и соавт., 2016)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34360" y="2547339"/>
            <a:ext cx="1007885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A06F2A"/>
                </a:solidFill>
                <a:effectLst/>
                <a:uLnTx/>
                <a:uFillTx/>
                <a:latin typeface="Inter" panose="02000803000000020004" pitchFamily="50" charset="0"/>
                <a:ea typeface="Inter" panose="02000803000000020004" pitchFamily="50" charset="0"/>
                <a:cs typeface="Inter" panose="02000803000000020004" pitchFamily="50" charset="0"/>
              </a:rPr>
              <a:t>В условиях многоцентрового открытого наблюдательного исследования установлена эффективность комбинации ХС и ГА при лечении неспецифической боли БНС: препарат уменьшал боль при движении в покое, улучшал функциональный статус, снижал суточную потребность в НПВП. Больные и врачи высоко оценивали эффективность лечения. Отмечалась также хорошая переносимость комбинации ХС и ГА. 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6125796"/>
            <a:ext cx="12211346" cy="60965"/>
          </a:xfrm>
          <a:prstGeom prst="rect">
            <a:avLst/>
          </a:prstGeom>
        </p:spPr>
      </p:pic>
      <p:sp>
        <p:nvSpPr>
          <p:cNvPr id="12" name="Прямоугольник 11"/>
          <p:cNvSpPr/>
          <p:nvPr/>
        </p:nvSpPr>
        <p:spPr>
          <a:xfrm>
            <a:off x="400331" y="1485159"/>
            <a:ext cx="659819" cy="3170099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0" b="0" i="0" u="none" strike="noStrike" kern="1200" cap="none" spc="0" normalizeH="0" baseline="0" noProof="0" dirty="0">
                <a:ln w="0"/>
                <a:solidFill>
                  <a:srgbClr val="A06F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“</a:t>
            </a:r>
            <a:endParaRPr kumimoji="0" lang="ru-RU" sz="20000" b="0" i="0" u="none" strike="noStrike" kern="1200" cap="none" spc="0" normalizeH="0" baseline="0" noProof="0" dirty="0">
              <a:ln w="0"/>
              <a:solidFill>
                <a:srgbClr val="A06F2A"/>
              </a:solidFill>
              <a:effectLst>
                <a:outerShdw blurRad="38100" dist="19050" dir="2700000" algn="tl" rotWithShape="0">
                  <a:prstClr val="black">
                    <a:alpha val="40000"/>
                  </a:prstClr>
                </a:outerShdw>
              </a:effectLst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0777290" y="3778702"/>
            <a:ext cx="1039067" cy="317009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0" b="0" i="0" u="none" strike="noStrike" kern="1200" cap="none" spc="0" normalizeH="0" baseline="0" noProof="0" dirty="0">
                <a:ln w="0"/>
                <a:solidFill>
                  <a:srgbClr val="A06F2A"/>
                </a:solidFill>
                <a:effectLst>
                  <a:outerShdw blurRad="38100" dist="19050" dir="2700000" algn="tl" rotWithShape="0">
                    <a:prstClr val="black">
                      <a:alpha val="40000"/>
                    </a:prstClr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”</a:t>
            </a:r>
          </a:p>
        </p:txBody>
      </p:sp>
      <p:sp>
        <p:nvSpPr>
          <p:cNvPr id="14" name="Нижний колонтитул 3">
            <a:extLst>
              <a:ext uri="{FF2B5EF4-FFF2-40B4-BE49-F238E27FC236}">
                <a16:creationId xmlns:a16="http://schemas.microsoft.com/office/drawing/2014/main" id="{04C3995C-4CC4-46AA-BF99-B37121AC8CAE}"/>
              </a:ext>
            </a:extLst>
          </p:cNvPr>
          <p:cNvSpPr txBox="1">
            <a:spLocks/>
          </p:cNvSpPr>
          <p:nvPr/>
        </p:nvSpPr>
        <p:spPr>
          <a:xfrm>
            <a:off x="1144657" y="6202655"/>
            <a:ext cx="1061388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A06F2A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Алексеева Л.И. и др. Научно-практическая ревматология. 2016;54(1):16-20</a:t>
            </a:r>
          </a:p>
        </p:txBody>
      </p:sp>
    </p:spTree>
    <p:extLst>
      <p:ext uri="{BB962C8B-B14F-4D97-AF65-F5344CB8AC3E}">
        <p14:creationId xmlns:p14="http://schemas.microsoft.com/office/powerpoint/2010/main" val="238179835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16577786-1CC8-4B8C-BE05-383CF8405F67}"/>
              </a:ext>
            </a:extLst>
          </p:cNvPr>
          <p:cNvSpPr/>
          <p:nvPr/>
        </p:nvSpPr>
        <p:spPr>
          <a:xfrm flipV="1">
            <a:off x="1775520" y="5279202"/>
            <a:ext cx="6481068" cy="5644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89AD7025-87C7-490C-8037-D326C3A031EE}"/>
              </a:ext>
            </a:extLst>
          </p:cNvPr>
          <p:cNvSpPr/>
          <p:nvPr/>
        </p:nvSpPr>
        <p:spPr>
          <a:xfrm flipV="1">
            <a:off x="8275836" y="2695203"/>
            <a:ext cx="3168004" cy="151900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7004" y="126194"/>
            <a:ext cx="11017992" cy="949325"/>
          </a:xfrm>
        </p:spPr>
        <p:txBody>
          <a:bodyPr>
            <a:noAutofit/>
          </a:bodyPr>
          <a:lstStyle/>
          <a:p>
            <a:pPr algn="l"/>
            <a:r>
              <a:rPr lang="ru-RU" sz="2400" b="1" spc="-40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бинация глюкозамина гидрохлорида и хондроитина сульфата эффективно увеличивает синтез коллагена в различных тканях сустава</a:t>
            </a:r>
          </a:p>
        </p:txBody>
      </p:sp>
      <p:graphicFrame>
        <p:nvGraphicFramePr>
          <p:cNvPr id="11" name="Объект 10"/>
          <p:cNvGraphicFramePr>
            <a:graphicFrameLocks noGrp="1"/>
          </p:cNvGraphicFramePr>
          <p:nvPr>
            <p:ph idx="1"/>
          </p:nvPr>
        </p:nvGraphicFramePr>
        <p:xfrm>
          <a:off x="1775520" y="1484784"/>
          <a:ext cx="6574744" cy="34563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1270696" y="6457008"/>
            <a:ext cx="11017992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 err="1">
                <a:latin typeface="Arial" panose="020B0604020202020204" pitchFamily="34" charset="0"/>
                <a:cs typeface="Arial" panose="020B0604020202020204" pitchFamily="34" charset="0"/>
              </a:rPr>
              <a:t>Lippiello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 L. </a:t>
            </a:r>
            <a:r>
              <a:rPr lang="ru-RU" sz="800" dirty="0" err="1">
                <a:latin typeface="Arial" panose="020B0604020202020204" pitchFamily="34" charset="0"/>
                <a:cs typeface="Arial" panose="020B0604020202020204" pitchFamily="34" charset="0"/>
              </a:rPr>
              <a:t>Collagen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dirty="0" err="1">
                <a:latin typeface="Arial" panose="020B0604020202020204" pitchFamily="34" charset="0"/>
                <a:cs typeface="Arial" panose="020B0604020202020204" pitchFamily="34" charset="0"/>
              </a:rPr>
              <a:t>Synthesis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dirty="0" err="1">
                <a:latin typeface="Arial" panose="020B0604020202020204" pitchFamily="34" charset="0"/>
                <a:cs typeface="Arial" panose="020B0604020202020204" pitchFamily="34" charset="0"/>
              </a:rPr>
              <a:t>in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dirty="0" err="1">
                <a:latin typeface="Arial" panose="020B0604020202020204" pitchFamily="34" charset="0"/>
                <a:cs typeface="Arial" panose="020B0604020202020204" pitchFamily="34" charset="0"/>
              </a:rPr>
              <a:t>Tenocytes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800" dirty="0" err="1">
                <a:latin typeface="Arial" panose="020B0604020202020204" pitchFamily="34" charset="0"/>
                <a:cs typeface="Arial" panose="020B0604020202020204" pitchFamily="34" charset="0"/>
              </a:rPr>
              <a:t>Ligament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dirty="0" err="1">
                <a:latin typeface="Arial" panose="020B0604020202020204" pitchFamily="34" charset="0"/>
                <a:cs typeface="Arial" panose="020B0604020202020204" pitchFamily="34" charset="0"/>
              </a:rPr>
              <a:t>Cells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dirty="0" err="1"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dirty="0" err="1">
                <a:latin typeface="Arial" panose="020B0604020202020204" pitchFamily="34" charset="0"/>
                <a:cs typeface="Arial" panose="020B0604020202020204" pitchFamily="34" charset="0"/>
              </a:rPr>
              <a:t>Chondrocytes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dirty="0" err="1">
                <a:latin typeface="Arial" panose="020B0604020202020204" pitchFamily="34" charset="0"/>
                <a:cs typeface="Arial" panose="020B0604020202020204" pitchFamily="34" charset="0"/>
              </a:rPr>
              <a:t>Exposed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 to a </a:t>
            </a:r>
            <a:r>
              <a:rPr lang="ru-RU" sz="800" dirty="0" err="1">
                <a:latin typeface="Arial" panose="020B0604020202020204" pitchFamily="34" charset="0"/>
                <a:cs typeface="Arial" panose="020B0604020202020204" pitchFamily="34" charset="0"/>
              </a:rPr>
              <a:t>Combination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dirty="0" err="1"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dirty="0" err="1">
                <a:latin typeface="Arial" panose="020B0604020202020204" pitchFamily="34" charset="0"/>
                <a:cs typeface="Arial" panose="020B0604020202020204" pitchFamily="34" charset="0"/>
              </a:rPr>
              <a:t>Glucosamine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dirty="0" err="1">
                <a:latin typeface="Arial" panose="020B0604020202020204" pitchFamily="34" charset="0"/>
                <a:cs typeface="Arial" panose="020B0604020202020204" pitchFamily="34" charset="0"/>
              </a:rPr>
              <a:t>HCl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dirty="0" err="1"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dirty="0" err="1">
                <a:latin typeface="Arial" panose="020B0604020202020204" pitchFamily="34" charset="0"/>
                <a:cs typeface="Arial" panose="020B0604020202020204" pitchFamily="34" charset="0"/>
              </a:rPr>
              <a:t>Chondroitin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dirty="0" err="1">
                <a:latin typeface="Arial" panose="020B0604020202020204" pitchFamily="34" charset="0"/>
                <a:cs typeface="Arial" panose="020B0604020202020204" pitchFamily="34" charset="0"/>
              </a:rPr>
              <a:t>Sulfate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800" dirty="0" err="1">
                <a:latin typeface="Arial" panose="020B0604020202020204" pitchFamily="34" charset="0"/>
                <a:cs typeface="Arial" panose="020B0604020202020204" pitchFamily="34" charset="0"/>
              </a:rPr>
              <a:t>Evid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dirty="0" err="1">
                <a:latin typeface="Arial" panose="020B0604020202020204" pitchFamily="34" charset="0"/>
                <a:cs typeface="Arial" panose="020B0604020202020204" pitchFamily="34" charset="0"/>
              </a:rPr>
              <a:t>Based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dirty="0" err="1">
                <a:latin typeface="Arial" panose="020B0604020202020204" pitchFamily="34" charset="0"/>
                <a:cs typeface="Arial" panose="020B0604020202020204" pitchFamily="34" charset="0"/>
              </a:rPr>
              <a:t>Complement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dirty="0" err="1">
                <a:latin typeface="Arial" panose="020B0604020202020204" pitchFamily="34" charset="0"/>
                <a:cs typeface="Arial" panose="020B0604020202020204" pitchFamily="34" charset="0"/>
              </a:rPr>
              <a:t>Alternat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800" dirty="0" err="1">
                <a:latin typeface="Arial" panose="020B0604020202020204" pitchFamily="34" charset="0"/>
                <a:cs typeface="Arial" panose="020B0604020202020204" pitchFamily="34" charset="0"/>
              </a:rPr>
              <a:t>Med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. 2007 </a:t>
            </a:r>
            <a:r>
              <a:rPr lang="ru-RU" sz="800" dirty="0" err="1">
                <a:latin typeface="Arial" panose="020B0604020202020204" pitchFamily="34" charset="0"/>
                <a:cs typeface="Arial" panose="020B0604020202020204" pitchFamily="34" charset="0"/>
              </a:rPr>
              <a:t>Jun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; 4(2):219-24.</a:t>
            </a:r>
          </a:p>
        </p:txBody>
      </p:sp>
      <p:sp>
        <p:nvSpPr>
          <p:cNvPr id="9" name="Rectangle 3"/>
          <p:cNvSpPr>
            <a:spLocks noChangeArrowheads="1"/>
          </p:cNvSpPr>
          <p:nvPr/>
        </p:nvSpPr>
        <p:spPr bwMode="auto">
          <a:xfrm>
            <a:off x="2020727" y="5296854"/>
            <a:ext cx="5542774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/>
          <a:p>
            <a:pPr eaLnBrk="1" hangingPunct="1"/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Увеличение синтеза коллагена в связках, гиалиновом хряще, </a:t>
            </a:r>
          </a:p>
          <a:p>
            <a:pPr eaLnBrk="1" hangingPunct="1"/>
            <a:r>
              <a:rPr 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сухожилиях в сравнении с контролем 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8417456" y="2785034"/>
            <a:ext cx="2884764" cy="13393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нные получены </a:t>
            </a:r>
            <a:r>
              <a:rPr lang="en-US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vitro </a:t>
            </a:r>
            <a:endParaRPr lang="ru-RU" sz="1600" dirty="0">
              <a:solidFill>
                <a:schemeClr val="tx1">
                  <a:lumMod val="85000"/>
                  <a:lumOff val="1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30000"/>
              </a:lnSpc>
            </a:pPr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культурах бычьих клеток </a:t>
            </a:r>
          </a:p>
          <a:p>
            <a:pPr>
              <a:lnSpc>
                <a:spcPct val="130000"/>
              </a:lnSpc>
            </a:pPr>
            <a:r>
              <a:rPr lang="ru-RU" sz="1600" dirty="0" err="1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ондроцитов</a:t>
            </a:r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 клеток </a:t>
            </a:r>
          </a:p>
          <a:p>
            <a:pPr>
              <a:lnSpc>
                <a:spcPct val="130000"/>
              </a:lnSpc>
            </a:pPr>
            <a:r>
              <a:rPr lang="ru-RU" sz="16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хожильных тканей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957969" y="1311633"/>
            <a:ext cx="64807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69%</a:t>
            </a:r>
          </a:p>
        </p:txBody>
      </p:sp>
    </p:spTree>
    <p:extLst>
      <p:ext uri="{BB962C8B-B14F-4D97-AF65-F5344CB8AC3E}">
        <p14:creationId xmlns:p14="http://schemas.microsoft.com/office/powerpoint/2010/main" val="2759362949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2">
            <a:extLst>
              <a:ext uri="{FF2B5EF4-FFF2-40B4-BE49-F238E27FC236}">
                <a16:creationId xmlns:a16="http://schemas.microsoft.com/office/drawing/2014/main" id="{5DC74104-A4B7-40A0-A6AA-F6CD1F0F69F6}"/>
              </a:ext>
            </a:extLst>
          </p:cNvPr>
          <p:cNvGraphicFramePr>
            <a:graphicFrameLocks noGrp="1"/>
          </p:cNvGraphicFramePr>
          <p:nvPr/>
        </p:nvGraphicFramePr>
        <p:xfrm>
          <a:off x="843182" y="1280988"/>
          <a:ext cx="9577511" cy="3842651"/>
        </p:xfrm>
        <a:graphic>
          <a:graphicData uri="http://schemas.openxmlformats.org/drawingml/2006/table">
            <a:tbl>
              <a:tblPr bandRow="1">
                <a:tableStyleId>{93296810-A885-4BE3-A3E7-6D5BEEA58F35}</a:tableStyleId>
              </a:tblPr>
              <a:tblGrid>
                <a:gridCol w="3312983">
                  <a:extLst>
                    <a:ext uri="{9D8B030D-6E8A-4147-A177-3AD203B41FA5}">
                      <a16:colId xmlns:a16="http://schemas.microsoft.com/office/drawing/2014/main" val="18100322"/>
                    </a:ext>
                  </a:extLst>
                </a:gridCol>
                <a:gridCol w="3232273">
                  <a:extLst>
                    <a:ext uri="{9D8B030D-6E8A-4147-A177-3AD203B41FA5}">
                      <a16:colId xmlns:a16="http://schemas.microsoft.com/office/drawing/2014/main" val="736474914"/>
                    </a:ext>
                  </a:extLst>
                </a:gridCol>
                <a:gridCol w="3032255">
                  <a:extLst>
                    <a:ext uri="{9D8B030D-6E8A-4147-A177-3AD203B41FA5}">
                      <a16:colId xmlns:a16="http://schemas.microsoft.com/office/drawing/2014/main" val="3068141627"/>
                    </a:ext>
                  </a:extLst>
                </a:gridCol>
              </a:tblGrid>
              <a:tr h="1182576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78087513"/>
                  </a:ext>
                </a:extLst>
              </a:tr>
              <a:tr h="1099435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03616450"/>
                  </a:ext>
                </a:extLst>
              </a:tr>
              <a:tr h="1560640"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9333540"/>
                  </a:ext>
                </a:extLst>
              </a:tr>
            </a:tbl>
          </a:graphicData>
        </a:graphic>
      </p:graphicFrame>
      <p:sp>
        <p:nvSpPr>
          <p:cNvPr id="32" name="TextBox 31"/>
          <p:cNvSpPr txBox="1"/>
          <p:nvPr/>
        </p:nvSpPr>
        <p:spPr>
          <a:xfrm>
            <a:off x="839416" y="425982"/>
            <a:ext cx="842493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ru-RU"/>
            </a:defPPr>
            <a:lvl1pPr>
              <a:defRPr sz="2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95000"/>
                    <a:lumOff val="5000"/>
                  </a:prst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остав препаратов Терафлекс</a:t>
            </a:r>
          </a:p>
        </p:txBody>
      </p: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C9D4EFD2-9CF6-4BE6-BF9F-51DFA772A39E}"/>
              </a:ext>
            </a:extLst>
          </p:cNvPr>
          <p:cNvGrpSpPr/>
          <p:nvPr/>
        </p:nvGrpSpPr>
        <p:grpSpPr>
          <a:xfrm>
            <a:off x="1017520" y="1480620"/>
            <a:ext cx="9207815" cy="3643020"/>
            <a:chOff x="1791464" y="2786302"/>
            <a:chExt cx="8920780" cy="3643020"/>
          </a:xfrm>
        </p:grpSpPr>
        <p:sp>
          <p:nvSpPr>
            <p:cNvPr id="33" name="Прямоугольник 32"/>
            <p:cNvSpPr/>
            <p:nvPr/>
          </p:nvSpPr>
          <p:spPr>
            <a:xfrm>
              <a:off x="1791464" y="2834915"/>
              <a:ext cx="2815375" cy="523210"/>
            </a:xfrm>
            <a:prstGeom prst="rect">
              <a:avLst/>
            </a:prstGeom>
          </p:spPr>
          <p:txBody>
            <a:bodyPr wrap="square" lIns="91431" tIns="45715" rIns="91431" bIns="45715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Терафлекс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60, 100, 200  капсул</a:t>
              </a: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1791464" y="3917867"/>
              <a:ext cx="3412940" cy="738654"/>
            </a:xfrm>
            <a:prstGeom prst="rect">
              <a:avLst/>
            </a:prstGeom>
            <a:noFill/>
          </p:spPr>
          <p:txBody>
            <a:bodyPr wrap="square" lIns="91431" tIns="45715" rIns="91431" bIns="45715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-12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Состав</a:t>
              </a:r>
              <a:r>
                <a:rPr kumimoji="0" lang="ru-RU" sz="1400" b="0" i="0" u="none" strike="noStrike" kern="1200" cap="none" spc="-12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(1 капсула):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1200" cap="none" spc="-12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Хондроитина сульфат</a:t>
              </a:r>
              <a:r>
                <a:rPr kumimoji="0" lang="en-US" sz="1400" b="0" i="0" u="none" strike="noStrike" kern="1200" cap="none" spc="-12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ru-RU" sz="1400" b="0" i="0" u="none" strike="noStrike" kern="1200" cap="none" spc="-12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натрия – 400 мг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1200" cap="none" spc="-12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Глюкозамина гидрохлорид – 500 мг</a:t>
              </a: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1791464" y="5044338"/>
              <a:ext cx="2519924" cy="1384984"/>
            </a:xfrm>
            <a:prstGeom prst="rect">
              <a:avLst/>
            </a:prstGeom>
            <a:noFill/>
          </p:spPr>
          <p:txBody>
            <a:bodyPr wrap="square" lIns="91431" tIns="45715" rIns="91431" bIns="45715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Рекомендованная схема применения: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По 1 капсуле 3 раза в сутки, 3 недели, затем – по 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1</a:t>
              </a: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капсуле 2 раза в сутки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Курс – 3-6 месяцев</a:t>
              </a:r>
            </a:p>
          </p:txBody>
        </p:sp>
        <p:sp>
          <p:nvSpPr>
            <p:cNvPr id="36" name="Прямоугольник 35"/>
            <p:cNvSpPr/>
            <p:nvPr/>
          </p:nvSpPr>
          <p:spPr>
            <a:xfrm>
              <a:off x="4931477" y="2834915"/>
              <a:ext cx="2603187" cy="523210"/>
            </a:xfrm>
            <a:prstGeom prst="rect">
              <a:avLst/>
            </a:prstGeom>
          </p:spPr>
          <p:txBody>
            <a:bodyPr wrap="square" lIns="91431" tIns="45715" rIns="91431" bIns="45715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Терафлекс Адванс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60, 120 капсул</a:t>
              </a: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4970361" y="3845928"/>
              <a:ext cx="3269030" cy="954097"/>
            </a:xfrm>
            <a:prstGeom prst="rect">
              <a:avLst/>
            </a:prstGeom>
            <a:noFill/>
          </p:spPr>
          <p:txBody>
            <a:bodyPr wrap="square" lIns="91431" tIns="45715" rIns="91431" bIns="45715" rtlCol="0">
              <a:spAutoFit/>
            </a:bodyPr>
            <a:lstStyle>
              <a:defPPr>
                <a:defRPr lang="ru-RU"/>
              </a:defPPr>
              <a:lvl1pPr>
                <a:defRPr sz="1400" b="1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-12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Состав (1 капсула):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1200" cap="none" spc="-12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Хондроитина сульфат натрия– 200 мг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1200" cap="none" spc="-12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Глюкозамина сульфат – 250 мг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1200" cap="none" spc="-12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Ибупрофен – 100 мг</a:t>
              </a: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4931477" y="5013177"/>
              <a:ext cx="2657932" cy="954097"/>
            </a:xfrm>
            <a:prstGeom prst="rect">
              <a:avLst/>
            </a:prstGeom>
            <a:noFill/>
          </p:spPr>
          <p:txBody>
            <a:bodyPr wrap="square" lIns="91431" tIns="45715" rIns="91431" bIns="45715" rtlCol="0">
              <a:spAutoFit/>
            </a:bodyPr>
            <a:lstStyle>
              <a:defPPr>
                <a:defRPr lang="ru-RU"/>
              </a:defPPr>
              <a:lvl1pPr>
                <a:defRPr sz="1400" b="1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Рекомендованная схема применения: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По 2 капсулы 3 раза в сутки до 3 недель</a:t>
              </a: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8054311" y="2786302"/>
              <a:ext cx="1980013" cy="738654"/>
            </a:xfrm>
            <a:prstGeom prst="rect">
              <a:avLst/>
            </a:prstGeom>
          </p:spPr>
          <p:txBody>
            <a:bodyPr wrap="square" lIns="91431" tIns="45715" rIns="91431" bIns="45715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Терафлекс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Хондрокрем Форте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30, 50 100 грамм</a:t>
              </a: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8054311" y="3917867"/>
              <a:ext cx="2657933" cy="738654"/>
            </a:xfrm>
            <a:prstGeom prst="rect">
              <a:avLst/>
            </a:prstGeom>
            <a:noFill/>
          </p:spPr>
          <p:txBody>
            <a:bodyPr wrap="square" lIns="91431" tIns="45715" rIns="91431" bIns="45715" rtlCol="0">
              <a:spAutoFit/>
            </a:bodyPr>
            <a:lstStyle>
              <a:defPPr>
                <a:defRPr lang="ru-RU"/>
              </a:defPPr>
              <a:lvl1pPr>
                <a:defRPr sz="1400" b="1">
                  <a:latin typeface="Arial" panose="020B0604020202020204" pitchFamily="34" charset="0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-12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Состав: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1200" cap="none" spc="-12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Хондроитина сульфат натрия - 5</a:t>
              </a:r>
              <a:r>
                <a:rPr kumimoji="0" lang="en-US" sz="1400" b="0" i="0" u="none" strike="noStrike" kern="1200" cap="none" spc="-12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0 </a:t>
              </a:r>
              <a:r>
                <a:rPr kumimoji="0" lang="ru-RU" sz="1400" b="0" i="0" u="none" strike="noStrike" kern="1200" cap="none" spc="-12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мг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1200" cap="none" spc="-12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Мелоксикам</a:t>
              </a:r>
              <a:r>
                <a:rPr kumimoji="0" lang="ru-RU" sz="1400" b="0" i="0" u="none" strike="noStrike" kern="1200" cap="none" spc="-12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- 10 мг</a:t>
              </a: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8044785" y="5055743"/>
              <a:ext cx="2519924" cy="954097"/>
            </a:xfrm>
            <a:prstGeom prst="rect">
              <a:avLst/>
            </a:prstGeom>
            <a:noFill/>
          </p:spPr>
          <p:txBody>
            <a:bodyPr wrap="square" lIns="91431" tIns="45715" rIns="91431" bIns="45715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Рекомендованная схема применения: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Наносить 2-3 раза в сутки до 2 недель</a:t>
              </a:r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DC2361D1-9C69-46D9-8EF6-CA5091BA9B7B}"/>
              </a:ext>
            </a:extLst>
          </p:cNvPr>
          <p:cNvSpPr txBox="1"/>
          <p:nvPr/>
        </p:nvSpPr>
        <p:spPr>
          <a:xfrm>
            <a:off x="839416" y="5426776"/>
            <a:ext cx="11525046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сточники получения активных компонентов: хондроитина сульфат - хрящевые ткани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рупного рогатого скота; глюкозамин - панцири ракообразных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07CDFBC-DF1E-46C6-88C5-7BB27F7DD809}"/>
              </a:ext>
            </a:extLst>
          </p:cNvPr>
          <p:cNvSpPr txBox="1"/>
          <p:nvPr/>
        </p:nvSpPr>
        <p:spPr>
          <a:xfrm>
            <a:off x="911424" y="6411661"/>
            <a:ext cx="495039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нструкции по медицинскому применению препаратов Терафлекс, Терафлекс Адванс, Терафлекс</a:t>
            </a:r>
          </a:p>
        </p:txBody>
      </p:sp>
    </p:spTree>
    <p:extLst>
      <p:ext uri="{BB962C8B-B14F-4D97-AF65-F5344CB8AC3E}">
        <p14:creationId xmlns:p14="http://schemas.microsoft.com/office/powerpoint/2010/main" val="1883109867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E6E3FBE2-E871-447E-B793-7001843A3FDE}"/>
              </a:ext>
            </a:extLst>
          </p:cNvPr>
          <p:cNvSpPr/>
          <p:nvPr/>
        </p:nvSpPr>
        <p:spPr>
          <a:xfrm flipV="1">
            <a:off x="2073994" y="5409543"/>
            <a:ext cx="9278590" cy="77001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7" name="Диаграмма 6"/>
          <p:cNvGraphicFramePr>
            <a:graphicFrameLocks/>
          </p:cNvGraphicFramePr>
          <p:nvPr/>
        </p:nvGraphicFramePr>
        <p:xfrm>
          <a:off x="2030958" y="1151319"/>
          <a:ext cx="6878637" cy="40632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AutoShape 2" descr="Картинки по запросу синтез гликозаминогликанов сульфата "/>
          <p:cNvSpPr>
            <a:spLocks noChangeAspect="1" noChangeArrowheads="1"/>
          </p:cNvSpPr>
          <p:nvPr/>
        </p:nvSpPr>
        <p:spPr bwMode="auto">
          <a:xfrm>
            <a:off x="1247527" y="547068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695401" y="117417"/>
            <a:ext cx="10657184" cy="101455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ru-RU" sz="2400" b="1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Комбинация хондроитина и глюкозамина в 3 раза более эффективно </a:t>
            </a:r>
            <a:br>
              <a:rPr lang="ru-RU" sz="2400" b="1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lang="ru-RU" sz="2400" b="1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увеличивает синтез гликозаминогликанов, в сравнении с монопрепаратами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272704" y="6525150"/>
            <a:ext cx="8280920" cy="215433"/>
          </a:xfrm>
          <a:prstGeom prst="rect">
            <a:avLst/>
          </a:prstGeom>
          <a:noFill/>
        </p:spPr>
        <p:txBody>
          <a:bodyPr wrap="square" lIns="91431" tIns="45715" rIns="91431" bIns="45715" rtlCol="0">
            <a:spAutoFit/>
          </a:bodyPr>
          <a:lstStyle/>
          <a:p>
            <a:r>
              <a:rPr lang="en-US" sz="800" dirty="0" err="1">
                <a:latin typeface="Arial" panose="020B0604020202020204" pitchFamily="34" charset="0"/>
                <a:cs typeface="Arial" panose="020B0604020202020204" pitchFamily="34" charset="0"/>
              </a:rPr>
              <a:t>Lippiello</a:t>
            </a: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 L</a:t>
            </a:r>
            <a:r>
              <a:rPr lang="ru-RU" sz="8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et al. In vivo </a:t>
            </a:r>
            <a:r>
              <a:rPr lang="en-US" sz="800" dirty="0" err="1">
                <a:latin typeface="Arial" panose="020B0604020202020204" pitchFamily="34" charset="0"/>
                <a:cs typeface="Arial" panose="020B0604020202020204" pitchFamily="34" charset="0"/>
              </a:rPr>
              <a:t>chondroprotection</a:t>
            </a: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 and metabolic synergy of glucosamine and chondroitin sulfate. </a:t>
            </a:r>
            <a:r>
              <a:rPr lang="en-US" sz="800" dirty="0" err="1">
                <a:latin typeface="Arial" panose="020B0604020202020204" pitchFamily="34" charset="0"/>
                <a:cs typeface="Arial" panose="020B0604020202020204" pitchFamily="34" charset="0"/>
              </a:rPr>
              <a:t>Clin</a:t>
            </a: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800" dirty="0" err="1">
                <a:latin typeface="Arial" panose="020B0604020202020204" pitchFamily="34" charset="0"/>
                <a:cs typeface="Arial" panose="020B0604020202020204" pitchFamily="34" charset="0"/>
              </a:rPr>
              <a:t>Orthop</a:t>
            </a: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800" dirty="0" err="1">
                <a:latin typeface="Arial" panose="020B0604020202020204" pitchFamily="34" charset="0"/>
                <a:cs typeface="Arial" panose="020B0604020202020204" pitchFamily="34" charset="0"/>
              </a:rPr>
              <a:t>Relat</a:t>
            </a: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 Res. 2000 Dec;(381):229-40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2423592" y="5477449"/>
            <a:ext cx="8202513" cy="6560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Данные получены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in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vitro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в опытах на культуре бычьих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хондроцитов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lnSpc>
                <a:spcPct val="120000"/>
              </a:lnSpc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Оценивалась степень включения меченой серы в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гликозаминогликаны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3387491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B248DDB-03B7-7531-A34A-9FC94B0268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филакти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55358C5B-D3A9-7B73-7A3C-1A7BE01C01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pPr algn="l"/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Меры по профилактике спазмов включают в себя следующие: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не заниматься физическими упражнениями сразу после еды;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осторожно выполнить упражнения для растяжения мышц перед физической нагрузкой или перед сном;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употреблять достаточное количество жидкости (особенно содержащей калий) после физических упражнений;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не употреблять психостимуляторы (например, кофеин, никотин, эфедрин, псевдоэфедрин)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Не курить</a:t>
            </a:r>
          </a:p>
          <a:p>
            <a:pPr algn="l"/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Упражнения на растяжение мышц для бега являются наиболее эффективными. 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246652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38E924A-E47C-BCBF-9C8C-DCC57A2AF6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Объект 3">
            <a:extLst>
              <a:ext uri="{FF2B5EF4-FFF2-40B4-BE49-F238E27FC236}">
                <a16:creationId xmlns:a16="http://schemas.microsoft.com/office/drawing/2014/main" id="{140219A0-A43F-FE7D-1146-8382DCE2782C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493520" y="101600"/>
            <a:ext cx="8534400" cy="66852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17162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192FB76-CBAC-5077-B008-6A7C011D67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олезненный мышечный спазм (БМС)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FF2735E1-A5D4-D276-9250-ACD9AB15BB2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Это тоническое напряжение мышц, возникающее в ответ на болевое раздражение. </a:t>
            </a:r>
          </a:p>
          <a:p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Каждое локальное болевое раздражение вызывает спинальный сенсомоторный рефлекс в соответствующем ему сегменте спинного мозга, сопровождающийся активацией </a:t>
            </a:r>
            <a:r>
              <a:rPr lang="ru-RU" b="0" i="0" dirty="0" err="1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мотонейронов</a:t>
            </a:r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, что, в свою очередь, приводит к спазму мышц, иннервируемых этими нейронами. </a:t>
            </a:r>
          </a:p>
          <a:p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Физиологическая обоснованность напряжения мышц, которое следует за любой болью, заключается в иммобилизации пораженного участка тела, создании мышечного корсета. </a:t>
            </a:r>
          </a:p>
          <a:p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Мышечный спазм приводит к усилению стимуляции болевых рецепторов мышцы.</a:t>
            </a:r>
            <a:b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b="0" i="0" dirty="0">
                <a:solidFill>
                  <a:srgbClr val="000000"/>
                </a:solidFill>
                <a:effectLst/>
                <a:latin typeface="Source Sans 3"/>
              </a:rPr>
              <a:t/>
            </a:r>
            <a:br>
              <a:rPr lang="ru-RU" b="0" i="0" dirty="0">
                <a:solidFill>
                  <a:srgbClr val="000000"/>
                </a:solidFill>
                <a:effectLst/>
                <a:latin typeface="Source Sans 3"/>
              </a:rPr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274165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Диаграмма 5"/>
          <p:cNvGraphicFramePr/>
          <p:nvPr/>
        </p:nvGraphicFramePr>
        <p:xfrm>
          <a:off x="550247" y="1899526"/>
          <a:ext cx="8277487" cy="40388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217714" y="152573"/>
            <a:ext cx="11974287" cy="1325563"/>
          </a:xfrm>
        </p:spPr>
        <p:txBody>
          <a:bodyPr>
            <a:normAutofit fontScale="90000"/>
          </a:bodyPr>
          <a:lstStyle/>
          <a:p>
            <a:pPr algn="ctr"/>
            <a:r>
              <a:rPr lang="ru-RU" sz="4000" b="1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Тенотен</a:t>
            </a:r>
            <a:r>
              <a:rPr lang="ru-RU" sz="4000" b="1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снижает симптоматику невротических расстройств более чем на 60%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013641" y="3037876"/>
            <a:ext cx="5019475" cy="830997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</a:rPr>
              <a:t>Через 12 </a:t>
            </a:r>
            <a:r>
              <a:rPr lang="ru-RU" sz="1600" dirty="0" err="1">
                <a:solidFill>
                  <a:prstClr val="black"/>
                </a:solidFill>
                <a:latin typeface="Arial" panose="020B0604020202020204" pitchFamily="34" charset="0"/>
              </a:rPr>
              <a:t>нед</a:t>
            </a:r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</a:rPr>
              <a:t> терапии </a:t>
            </a:r>
            <a:r>
              <a:rPr lang="ru-RU" sz="1600" dirty="0" err="1">
                <a:solidFill>
                  <a:prstClr val="black"/>
                </a:solidFill>
                <a:latin typeface="Arial" panose="020B0604020202020204" pitchFamily="34" charset="0"/>
              </a:rPr>
              <a:t>Тенотеном</a:t>
            </a:r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</a:rPr>
              <a:t> средний суммарный балл HADS уменьшился на 62,2% (p&lt;0,0001 по сравнению с исходным). 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827315" y="1899525"/>
            <a:ext cx="842838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ru-RU" b="1" dirty="0">
                <a:solidFill>
                  <a:srgbClr val="5B9BD5"/>
                </a:solidFill>
              </a:rPr>
              <a:t>Изменение среднего суммарного балла </a:t>
            </a:r>
            <a:r>
              <a:rPr lang="en-US" b="1" dirty="0">
                <a:solidFill>
                  <a:srgbClr val="5B9BD5"/>
                </a:solidFill>
              </a:rPr>
              <a:t>HADS </a:t>
            </a:r>
            <a:r>
              <a:rPr lang="ru-RU" b="1" dirty="0">
                <a:solidFill>
                  <a:srgbClr val="5B9BD5"/>
                </a:solidFill>
              </a:rPr>
              <a:t>через 12 </a:t>
            </a:r>
            <a:r>
              <a:rPr lang="ru-RU" b="1" dirty="0" err="1">
                <a:solidFill>
                  <a:srgbClr val="5B9BD5"/>
                </a:solidFill>
              </a:rPr>
              <a:t>нед</a:t>
            </a:r>
            <a:r>
              <a:rPr lang="ru-RU" b="1" dirty="0">
                <a:solidFill>
                  <a:srgbClr val="5B9BD5"/>
                </a:solidFill>
              </a:rPr>
              <a:t> терапии препаратом </a:t>
            </a:r>
            <a:r>
              <a:rPr lang="ru-RU" b="1" dirty="0" err="1">
                <a:solidFill>
                  <a:srgbClr val="5B9BD5"/>
                </a:solidFill>
              </a:rPr>
              <a:t>Тенотен</a:t>
            </a:r>
            <a:r>
              <a:rPr lang="ru-RU" b="1" dirty="0">
                <a:solidFill>
                  <a:srgbClr val="5B9BD5"/>
                </a:solidFill>
              </a:rPr>
              <a:t> по сравнению с исходными показателями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7063249" y="5734869"/>
            <a:ext cx="734496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377">
              <a:defRPr/>
            </a:pPr>
            <a:r>
              <a:rPr lang="en-US" sz="1400" dirty="0">
                <a:solidFill>
                  <a:prstClr val="black"/>
                </a:solidFill>
              </a:rPr>
              <a:t>n=</a:t>
            </a:r>
            <a:r>
              <a:rPr lang="ru-RU" sz="1400" dirty="0">
                <a:solidFill>
                  <a:prstClr val="black"/>
                </a:solidFill>
              </a:rPr>
              <a:t>4694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827314" y="6479126"/>
            <a:ext cx="1136468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377">
              <a:defRPr/>
            </a:pPr>
            <a:r>
              <a:rPr lang="ru-RU" sz="900" i="1" dirty="0" err="1">
                <a:solidFill>
                  <a:prstClr val="black"/>
                </a:solidFill>
                <a:ea typeface="Calibri" panose="020F0502020204030204" pitchFamily="34" charset="0"/>
              </a:rPr>
              <a:t>Верткин</a:t>
            </a:r>
            <a:r>
              <a:rPr lang="ru-RU" sz="900" i="1" dirty="0">
                <a:solidFill>
                  <a:prstClr val="black"/>
                </a:solidFill>
                <a:ea typeface="Calibri" panose="020F0502020204030204" pitchFamily="34" charset="0"/>
              </a:rPr>
              <a:t> А.Л.,</a:t>
            </a:r>
            <a:r>
              <a:rPr lang="ru-RU" sz="900" i="1" dirty="0">
                <a:solidFill>
                  <a:prstClr val="black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900" i="1" dirty="0" err="1">
                <a:solidFill>
                  <a:prstClr val="black"/>
                </a:solidFill>
                <a:ea typeface="Calibri" panose="020F0502020204030204" pitchFamily="34" charset="0"/>
              </a:rPr>
              <a:t>Ромасенко</a:t>
            </a:r>
            <a:r>
              <a:rPr lang="ru-RU" sz="900" i="1" dirty="0">
                <a:solidFill>
                  <a:prstClr val="black"/>
                </a:solidFill>
                <a:ea typeface="Calibri" panose="020F0502020204030204" pitchFamily="34" charset="0"/>
              </a:rPr>
              <a:t> Л.В., Исаев М.Р., </a:t>
            </a:r>
            <a:r>
              <a:rPr lang="ru-RU" sz="900" i="1" dirty="0" err="1">
                <a:solidFill>
                  <a:prstClr val="black"/>
                </a:solidFill>
                <a:ea typeface="Calibri" panose="020F0502020204030204" pitchFamily="34" charset="0"/>
              </a:rPr>
              <a:t>Хузина</a:t>
            </a:r>
            <a:r>
              <a:rPr lang="ru-RU" sz="900" i="1" dirty="0">
                <a:solidFill>
                  <a:prstClr val="black"/>
                </a:solidFill>
                <a:ea typeface="Calibri" panose="020F0502020204030204" pitchFamily="34" charset="0"/>
              </a:rPr>
              <a:t> И.А., </a:t>
            </a:r>
            <a:r>
              <a:rPr lang="ru-RU" sz="900" i="1" dirty="0" err="1">
                <a:solidFill>
                  <a:prstClr val="black"/>
                </a:solidFill>
                <a:ea typeface="Calibri" panose="020F0502020204030204" pitchFamily="34" charset="0"/>
              </a:rPr>
              <a:t>Наврузова</a:t>
            </a:r>
            <a:r>
              <a:rPr lang="ru-RU" sz="900" i="1" dirty="0">
                <a:solidFill>
                  <a:prstClr val="black"/>
                </a:solidFill>
                <a:ea typeface="Calibri" panose="020F0502020204030204" pitchFamily="34" charset="0"/>
              </a:rPr>
              <a:t> Н.Х., </a:t>
            </a:r>
            <a:r>
              <a:rPr lang="ru-RU" sz="900" i="1" dirty="0" err="1">
                <a:solidFill>
                  <a:prstClr val="black"/>
                </a:solidFill>
                <a:ea typeface="Calibri" panose="020F0502020204030204" pitchFamily="34" charset="0"/>
              </a:rPr>
              <a:t>Кукарцева</a:t>
            </a:r>
            <a:r>
              <a:rPr lang="ru-RU" sz="900" i="1" dirty="0">
                <a:solidFill>
                  <a:prstClr val="black"/>
                </a:solidFill>
                <a:ea typeface="Calibri" panose="020F0502020204030204" pitchFamily="34" charset="0"/>
              </a:rPr>
              <a:t> К.В., Чуприна С.Е., </a:t>
            </a:r>
            <a:r>
              <a:rPr lang="ru-RU" sz="900" i="1" dirty="0" err="1">
                <a:solidFill>
                  <a:prstClr val="black"/>
                </a:solidFill>
                <a:ea typeface="Calibri" panose="020F0502020204030204" pitchFamily="34" charset="0"/>
              </a:rPr>
              <a:t>Зозик</a:t>
            </a:r>
            <a:r>
              <a:rPr lang="ru-RU" sz="900" i="1" dirty="0">
                <a:solidFill>
                  <a:prstClr val="black"/>
                </a:solidFill>
                <a:ea typeface="Calibri" panose="020F0502020204030204" pitchFamily="34" charset="0"/>
              </a:rPr>
              <a:t> И.В., </a:t>
            </a:r>
            <a:r>
              <a:rPr lang="ru-RU" sz="900" i="1" dirty="0" err="1">
                <a:solidFill>
                  <a:prstClr val="black"/>
                </a:solidFill>
                <a:ea typeface="Calibri" panose="020F0502020204030204" pitchFamily="34" charset="0"/>
              </a:rPr>
              <a:t>Хачева</a:t>
            </a:r>
            <a:r>
              <a:rPr lang="ru-RU" sz="900" i="1" dirty="0">
                <a:solidFill>
                  <a:prstClr val="black"/>
                </a:solidFill>
                <a:ea typeface="Calibri" panose="020F0502020204030204" pitchFamily="34" charset="0"/>
              </a:rPr>
              <a:t> К.К. Терапия тревожно-депрессивных расстройств у пациентов с артериальной гипертензией: результаты всероссийского открытого </a:t>
            </a:r>
            <a:r>
              <a:rPr lang="ru-RU" sz="900" i="1" dirty="0" err="1">
                <a:solidFill>
                  <a:prstClr val="black"/>
                </a:solidFill>
                <a:ea typeface="Calibri" panose="020F0502020204030204" pitchFamily="34" charset="0"/>
              </a:rPr>
              <a:t>проспективного</a:t>
            </a:r>
            <a:r>
              <a:rPr lang="ru-RU" sz="900" i="1" dirty="0">
                <a:solidFill>
                  <a:prstClr val="black"/>
                </a:solidFill>
                <a:ea typeface="Calibri" panose="020F0502020204030204" pitchFamily="34" charset="0"/>
              </a:rPr>
              <a:t> наблюдательного клинического исследования ТЕАТР. Терапия. 202</a:t>
            </a:r>
            <a:r>
              <a:rPr lang="en-US" sz="900" i="1" dirty="0">
                <a:solidFill>
                  <a:prstClr val="black"/>
                </a:solidFill>
                <a:ea typeface="Calibri" panose="020F0502020204030204" pitchFamily="34" charset="0"/>
              </a:rPr>
              <a:t>1; </a:t>
            </a:r>
            <a:r>
              <a:rPr lang="ru-RU" sz="900" i="1" dirty="0">
                <a:solidFill>
                  <a:prstClr val="black"/>
                </a:solidFill>
                <a:ea typeface="Calibri" panose="020F0502020204030204" pitchFamily="34" charset="0"/>
              </a:rPr>
              <a:t>1</a:t>
            </a:r>
            <a:r>
              <a:rPr lang="en-US" sz="900" i="1" dirty="0">
                <a:solidFill>
                  <a:prstClr val="black"/>
                </a:solidFill>
                <a:ea typeface="Calibri" panose="020F0502020204030204" pitchFamily="34" charset="0"/>
              </a:rPr>
              <a:t>: </a:t>
            </a:r>
            <a:r>
              <a:rPr lang="ru-RU" sz="900" i="1" dirty="0">
                <a:solidFill>
                  <a:prstClr val="black"/>
                </a:solidFill>
                <a:ea typeface="Calibri" panose="020F0502020204030204" pitchFamily="34" charset="0"/>
              </a:rPr>
              <a:t>50-60,</a:t>
            </a:r>
            <a:r>
              <a:rPr lang="en-US" sz="900" i="1" dirty="0">
                <a:solidFill>
                  <a:prstClr val="black"/>
                </a:solidFill>
                <a:ea typeface="Calibri" panose="020F0502020204030204" pitchFamily="34" charset="0"/>
              </a:rPr>
              <a:t> </a:t>
            </a:r>
            <a:r>
              <a:rPr lang="en-US" sz="900" i="1" u="sng" dirty="0">
                <a:solidFill>
                  <a:prstClr val="black"/>
                </a:solidFill>
                <a:hlinkClick r:id="rId3"/>
              </a:rPr>
              <a:t>https://dx.doi.org/10.18565/therapy.2021.1.47-57</a:t>
            </a:r>
            <a:endParaRPr lang="ru-RU" sz="400" i="1" dirty="0">
              <a:solidFill>
                <a:prstClr val="black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4EA22BC-57A2-4FBE-B589-B0B3AB210777}"/>
              </a:ext>
            </a:extLst>
          </p:cNvPr>
          <p:cNvSpPr txBox="1"/>
          <p:nvPr/>
        </p:nvSpPr>
        <p:spPr>
          <a:xfrm>
            <a:off x="7013641" y="4047839"/>
            <a:ext cx="5019475" cy="1569660"/>
          </a:xfrm>
          <a:prstGeom prst="rect">
            <a:avLst/>
          </a:prstGeom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</a:rPr>
              <a:t>Всероссийская открытая </a:t>
            </a:r>
            <a:r>
              <a:rPr lang="ru-RU" sz="1600" dirty="0" err="1">
                <a:solidFill>
                  <a:prstClr val="black"/>
                </a:solidFill>
                <a:latin typeface="Arial" panose="020B0604020202020204" pitchFamily="34" charset="0"/>
              </a:rPr>
              <a:t>проспективная</a:t>
            </a:r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</a:rPr>
              <a:t> наблюдательная программа. Пациенты с диагнозом: невротические расстройства (расстройства адаптации) на фоне АГ </a:t>
            </a:r>
            <a:r>
              <a:rPr lang="en-US" sz="1600" dirty="0">
                <a:solidFill>
                  <a:prstClr val="black"/>
                </a:solidFill>
                <a:latin typeface="Arial" panose="020B0604020202020204" pitchFamily="34" charset="0"/>
              </a:rPr>
              <a:t>(n=6933). </a:t>
            </a:r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</a:rPr>
              <a:t>Терапия: </a:t>
            </a:r>
            <a:r>
              <a:rPr lang="ru-RU" sz="1600" dirty="0" err="1">
                <a:solidFill>
                  <a:prstClr val="black"/>
                </a:solidFill>
                <a:latin typeface="Arial" panose="020B0604020202020204" pitchFamily="34" charset="0"/>
              </a:rPr>
              <a:t>Тенотен</a:t>
            </a:r>
            <a:r>
              <a:rPr lang="ru-RU" sz="1600" dirty="0">
                <a:solidFill>
                  <a:prstClr val="black"/>
                </a:solidFill>
                <a:latin typeface="Arial" panose="020B0604020202020204" pitchFamily="34" charset="0"/>
              </a:rPr>
              <a:t> по 2 т 3 раза в сутки в течение 12 недель + стандартная терапия АГ</a:t>
            </a:r>
          </a:p>
        </p:txBody>
      </p:sp>
    </p:spTree>
    <p:extLst>
      <p:ext uri="{BB962C8B-B14F-4D97-AF65-F5344CB8AC3E}">
        <p14:creationId xmlns:p14="http://schemas.microsoft.com/office/powerpoint/2010/main" val="22529104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Эффективное лечение начальных проявлений СНМП при ДГПЖ…"/>
          <p:cNvSpPr txBox="1">
            <a:spLocks noChangeArrowheads="1"/>
          </p:cNvSpPr>
          <p:nvPr/>
        </p:nvSpPr>
        <p:spPr bwMode="auto">
          <a:xfrm>
            <a:off x="6062136" y="1221320"/>
            <a:ext cx="5794505" cy="3990323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  <p:txBody>
          <a:bodyPr wrap="square" lIns="21336" tIns="21336" rIns="21336" bIns="21336">
            <a:spAutoFit/>
          </a:bodyPr>
          <a:lstStyle/>
          <a:p>
            <a:pPr defTabSz="1022300">
              <a:spcBef>
                <a:spcPts val="2933"/>
              </a:spcBef>
              <a:defRPr/>
            </a:pPr>
            <a:r>
              <a:rPr lang="ru-RU" altLang="ru-RU" sz="24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  <a:sym typeface="Verdana" pitchFamily="34" charset="0"/>
              </a:rPr>
              <a:t>Тенотен</a:t>
            </a:r>
            <a:r>
              <a:rPr lang="ru-RU" altLang="ru-RU" sz="24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  <a:sym typeface="Verdana" pitchFamily="34" charset="0"/>
              </a:rPr>
              <a:t>: доказанная эффективность в лечении тревоги, сравнимая с </a:t>
            </a:r>
            <a:r>
              <a:rPr lang="ru-RU" altLang="ru-RU" sz="24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  <a:sym typeface="Verdana" pitchFamily="34" charset="0"/>
              </a:rPr>
              <a:t>бензодиазепинами</a:t>
            </a:r>
            <a:r>
              <a:rPr lang="ru-RU" altLang="ru-RU" sz="2400" baseline="300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  <a:sym typeface="Verdana" pitchFamily="34" charset="0"/>
              </a:rPr>
              <a:t> 1, 2</a:t>
            </a:r>
          </a:p>
          <a:p>
            <a:pPr defTabSz="1022300">
              <a:spcBef>
                <a:spcPts val="2933"/>
              </a:spcBef>
              <a:defRPr/>
            </a:pPr>
            <a:r>
              <a:rPr lang="ru-RU" altLang="ru-RU" sz="24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  <a:sym typeface="Verdana" pitchFamily="34" charset="0"/>
              </a:rPr>
              <a:t>Благоприятный профиль безопасности</a:t>
            </a:r>
            <a:r>
              <a:rPr lang="ru-RU" altLang="ru-RU" sz="2400" baseline="300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  <a:sym typeface="Verdana" pitchFamily="34" charset="0"/>
              </a:rPr>
              <a:t> 1</a:t>
            </a:r>
            <a:endParaRPr lang="ru-RU" altLang="ru-RU" sz="2400" dirty="0">
              <a:solidFill>
                <a:schemeClr val="accent1">
                  <a:lumMod val="50000"/>
                </a:schemeClr>
              </a:solidFill>
              <a:latin typeface="Century Gothic" panose="020B0502020202020204" pitchFamily="34" charset="0"/>
              <a:sym typeface="Verdana" pitchFamily="34" charset="0"/>
            </a:endParaRPr>
          </a:p>
          <a:p>
            <a:pPr defTabSz="1022300">
              <a:spcBef>
                <a:spcPts val="2933"/>
              </a:spcBef>
              <a:defRPr/>
            </a:pPr>
            <a:r>
              <a:rPr lang="ru-RU" altLang="ru-RU" sz="24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  <a:sym typeface="Verdana" pitchFamily="34" charset="0"/>
              </a:rPr>
              <a:t>Курсовое применение: </a:t>
            </a:r>
            <a:br>
              <a:rPr lang="ru-RU" altLang="ru-RU" sz="24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  <a:sym typeface="Verdana" pitchFamily="34" charset="0"/>
              </a:rPr>
            </a:br>
            <a:r>
              <a:rPr lang="ru-RU" sz="24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по</a:t>
            </a:r>
            <a:r>
              <a:rPr lang="en-US" sz="24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1 </a:t>
            </a:r>
            <a:r>
              <a:rPr lang="ru-RU" sz="24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или 2 таблетки 2 раза/</a:t>
            </a:r>
            <a:r>
              <a:rPr lang="ru-RU" sz="2400" dirty="0" err="1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сут</a:t>
            </a:r>
            <a:r>
              <a:rPr lang="ru-RU" sz="24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</a:rPr>
              <a:t> </a:t>
            </a:r>
            <a:r>
              <a:rPr lang="ru-RU" altLang="ru-RU" sz="2400" baseline="30000" dirty="0">
                <a:solidFill>
                  <a:schemeClr val="accent1">
                    <a:lumMod val="50000"/>
                  </a:schemeClr>
                </a:solidFill>
                <a:latin typeface="Century Gothic" panose="020B0502020202020204" pitchFamily="34" charset="0"/>
                <a:sym typeface="Verdana" pitchFamily="34" charset="0"/>
              </a:rPr>
              <a:t>1</a:t>
            </a:r>
          </a:p>
          <a:p>
            <a:pPr defTabSz="1022300">
              <a:spcBef>
                <a:spcPts val="2933"/>
              </a:spcBef>
              <a:defRPr/>
            </a:pPr>
            <a:endParaRPr lang="ru-RU" altLang="ru-RU" sz="2400" baseline="30000" dirty="0">
              <a:solidFill>
                <a:schemeClr val="accent1">
                  <a:lumMod val="50000"/>
                </a:schemeClr>
              </a:solidFill>
              <a:latin typeface="Century Gothic" panose="020B0502020202020204" pitchFamily="34" charset="0"/>
              <a:sym typeface="Verdana" pitchFamily="34" charset="0"/>
            </a:endParaRPr>
          </a:p>
        </p:txBody>
      </p:sp>
      <p:sp>
        <p:nvSpPr>
          <p:cNvPr id="22532" name="1"/>
          <p:cNvSpPr txBox="1">
            <a:spLocks noChangeArrowheads="1"/>
          </p:cNvSpPr>
          <p:nvPr/>
        </p:nvSpPr>
        <p:spPr bwMode="auto">
          <a:xfrm>
            <a:off x="5039786" y="1123951"/>
            <a:ext cx="1113367" cy="1027974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  <p:txBody>
          <a:bodyPr lIns="21336" tIns="21336" rIns="21336" bIns="21336">
            <a:spAutoFit/>
          </a:bodyPr>
          <a:lstStyle/>
          <a:p>
            <a:pPr defTabSz="1022300">
              <a:spcBef>
                <a:spcPts val="3533"/>
              </a:spcBef>
              <a:defRPr/>
            </a:pPr>
            <a:r>
              <a:rPr lang="ru-RU" altLang="ru-RU" sz="6400" b="1" dirty="0">
                <a:solidFill>
                  <a:srgbClr val="5B9BD5"/>
                </a:solidFill>
                <a:sym typeface="Verdana" pitchFamily="34" charset="0"/>
              </a:rPr>
              <a:t>1</a:t>
            </a:r>
          </a:p>
        </p:txBody>
      </p:sp>
      <p:sp>
        <p:nvSpPr>
          <p:cNvPr id="22533" name="2"/>
          <p:cNvSpPr txBox="1">
            <a:spLocks noChangeArrowheads="1"/>
          </p:cNvSpPr>
          <p:nvPr/>
        </p:nvSpPr>
        <p:spPr bwMode="auto">
          <a:xfrm>
            <a:off x="5087411" y="2564827"/>
            <a:ext cx="1113367" cy="1027974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  <p:txBody>
          <a:bodyPr lIns="21336" tIns="21336" rIns="21336" bIns="21336">
            <a:spAutoFit/>
          </a:bodyPr>
          <a:lstStyle/>
          <a:p>
            <a:pPr defTabSz="1022300">
              <a:spcBef>
                <a:spcPts val="3533"/>
              </a:spcBef>
              <a:defRPr/>
            </a:pPr>
            <a:r>
              <a:rPr lang="ru-RU" altLang="ru-RU" sz="6400" b="1" dirty="0">
                <a:solidFill>
                  <a:srgbClr val="5B9BD5"/>
                </a:solidFill>
                <a:sym typeface="Verdana" pitchFamily="34" charset="0"/>
              </a:rPr>
              <a:t>2</a:t>
            </a:r>
          </a:p>
        </p:txBody>
      </p:sp>
      <p:sp>
        <p:nvSpPr>
          <p:cNvPr id="22534" name="3"/>
          <p:cNvSpPr txBox="1">
            <a:spLocks noChangeArrowheads="1"/>
          </p:cNvSpPr>
          <p:nvPr/>
        </p:nvSpPr>
        <p:spPr bwMode="auto">
          <a:xfrm>
            <a:off x="5087411" y="3644432"/>
            <a:ext cx="1018116" cy="1027974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  <p:txBody>
          <a:bodyPr lIns="21336" tIns="21336" rIns="21336" bIns="21336">
            <a:spAutoFit/>
          </a:bodyPr>
          <a:lstStyle/>
          <a:p>
            <a:pPr defTabSz="1022300">
              <a:spcBef>
                <a:spcPts val="3533"/>
              </a:spcBef>
              <a:defRPr/>
            </a:pPr>
            <a:r>
              <a:rPr lang="ru-RU" altLang="ru-RU" sz="6400" b="1" dirty="0">
                <a:solidFill>
                  <a:srgbClr val="5B9BD5"/>
                </a:solidFill>
                <a:sym typeface="Verdana" pitchFamily="34" charset="0"/>
              </a:rPr>
              <a:t>3</a:t>
            </a:r>
          </a:p>
        </p:txBody>
      </p:sp>
      <p:sp>
        <p:nvSpPr>
          <p:cNvPr id="22535" name="Винаров А.З,, Спивак Л.Г., 2015 г. Многоцентровое двойное слепое плацебоконтролируемое рандомизированное клиническое исследование в параллельных группах безопасности и эффективности применения Афалазы у пациентов с симптомами ДГПЖ и риском прогрессии. Фи"/>
          <p:cNvSpPr txBox="1">
            <a:spLocks noChangeArrowheads="1"/>
          </p:cNvSpPr>
          <p:nvPr/>
        </p:nvSpPr>
        <p:spPr bwMode="auto">
          <a:xfrm>
            <a:off x="839360" y="6318780"/>
            <a:ext cx="11472333" cy="472742"/>
          </a:xfrm>
          <a:prstGeom prst="rect">
            <a:avLst/>
          </a:prstGeom>
          <a:noFill/>
          <a:ln w="12700">
            <a:noFill/>
            <a:miter lim="400000"/>
            <a:headEnd/>
            <a:tailEnd/>
          </a:ln>
        </p:spPr>
        <p:txBody>
          <a:bodyPr lIns="51205" tIns="51205" rIns="51205" bIns="51205">
            <a:spAutoFit/>
          </a:bodyPr>
          <a:lstStyle/>
          <a:p>
            <a:pPr defTabSz="1022300">
              <a:defRPr/>
            </a:pPr>
            <a:r>
              <a:rPr lang="en-US" altLang="ru-RU" sz="800" i="1" dirty="0">
                <a:solidFill>
                  <a:prstClr val="black"/>
                </a:solidFill>
                <a:sym typeface="Verdana" pitchFamily="34" charset="0"/>
              </a:rPr>
              <a:t>1</a:t>
            </a:r>
            <a:r>
              <a:rPr lang="ru-RU" altLang="ru-RU" sz="800" i="1" dirty="0">
                <a:solidFill>
                  <a:prstClr val="black"/>
                </a:solidFill>
                <a:sym typeface="Verdana" pitchFamily="34" charset="0"/>
              </a:rPr>
              <a:t> </a:t>
            </a:r>
            <a:r>
              <a:rPr lang="en-US" altLang="ru-RU" sz="800" i="1" dirty="0">
                <a:solidFill>
                  <a:prstClr val="black"/>
                </a:solidFill>
                <a:sym typeface="Verdana" pitchFamily="34" charset="0"/>
              </a:rPr>
              <a:t>.</a:t>
            </a:r>
            <a:r>
              <a:rPr lang="ru-RU" altLang="ru-RU" sz="800" i="1" dirty="0">
                <a:solidFill>
                  <a:prstClr val="black"/>
                </a:solidFill>
                <a:sym typeface="Verdana" pitchFamily="34" charset="0"/>
              </a:rPr>
              <a:t>Инструкция по медицинскому применению препарата </a:t>
            </a:r>
            <a:r>
              <a:rPr lang="ru-RU" altLang="ru-RU" sz="800" i="1" dirty="0" err="1">
                <a:solidFill>
                  <a:prstClr val="black"/>
                </a:solidFill>
                <a:sym typeface="Verdana" pitchFamily="34" charset="0"/>
              </a:rPr>
              <a:t>Тенотен</a:t>
            </a:r>
            <a:r>
              <a:rPr lang="ru-RU" altLang="ru-RU" sz="800" i="1" dirty="0">
                <a:solidFill>
                  <a:prstClr val="black"/>
                </a:solidFill>
                <a:sym typeface="Verdana" pitchFamily="34" charset="0"/>
              </a:rPr>
              <a:t> ЛП-</a:t>
            </a:r>
            <a:r>
              <a:rPr lang="en-US" altLang="ru-RU" sz="800" i="1" dirty="0">
                <a:solidFill>
                  <a:prstClr val="black"/>
                </a:solidFill>
                <a:sym typeface="Verdana" panose="020B0604030504040204" pitchFamily="34" charset="0"/>
              </a:rPr>
              <a:t>N (000029) - (</a:t>
            </a:r>
            <a:r>
              <a:rPr lang="ru-RU" altLang="ru-RU" sz="800" i="1" dirty="0">
                <a:solidFill>
                  <a:prstClr val="black"/>
                </a:solidFill>
                <a:sym typeface="Verdana" panose="020B0604030504040204" pitchFamily="34" charset="0"/>
              </a:rPr>
              <a:t>РГ-</a:t>
            </a:r>
            <a:r>
              <a:rPr lang="en-US" altLang="ru-RU" sz="800" i="1" dirty="0">
                <a:solidFill>
                  <a:prstClr val="black"/>
                </a:solidFill>
                <a:sym typeface="Verdana" panose="020B0604030504040204" pitchFamily="34" charset="0"/>
              </a:rPr>
              <a:t>RU)</a:t>
            </a:r>
            <a:r>
              <a:rPr lang="ru-RU" altLang="ru-RU" sz="800" i="1" dirty="0">
                <a:solidFill>
                  <a:prstClr val="black"/>
                </a:solidFill>
                <a:sym typeface="Verdana" panose="020B0604030504040204" pitchFamily="34" charset="0"/>
              </a:rPr>
              <a:t> от 18.12.2019</a:t>
            </a:r>
          </a:p>
          <a:p>
            <a:pPr defTabSz="914377">
              <a:defRPr/>
            </a:pPr>
            <a:r>
              <a:rPr lang="ru-RU" altLang="ru-RU" sz="800" i="1" dirty="0">
                <a:solidFill>
                  <a:prstClr val="black"/>
                </a:solidFill>
                <a:sym typeface="Verdana" panose="020B0604030504040204" pitchFamily="34" charset="0"/>
              </a:rPr>
              <a:t>2. </a:t>
            </a:r>
            <a:r>
              <a:rPr lang="ru-RU" sz="800" i="1" dirty="0">
                <a:solidFill>
                  <a:prstClr val="black"/>
                </a:solidFill>
              </a:rPr>
              <a:t>Отчет о клиническом исследовании эффективности и переносимости препарата «</a:t>
            </a:r>
            <a:r>
              <a:rPr lang="ru-RU" sz="800" i="1" dirty="0" err="1">
                <a:solidFill>
                  <a:prstClr val="black"/>
                </a:solidFill>
              </a:rPr>
              <a:t>Тенотен</a:t>
            </a:r>
            <a:r>
              <a:rPr lang="ru-RU" sz="800" i="1" dirty="0">
                <a:solidFill>
                  <a:prstClr val="black"/>
                </a:solidFill>
              </a:rPr>
              <a:t>» в качестве </a:t>
            </a:r>
            <a:r>
              <a:rPr lang="ru-RU" sz="800" i="1" dirty="0" err="1">
                <a:solidFill>
                  <a:prstClr val="black"/>
                </a:solidFill>
              </a:rPr>
              <a:t>анксиолитического</a:t>
            </a:r>
            <a:r>
              <a:rPr lang="ru-RU" sz="800" i="1" dirty="0">
                <a:solidFill>
                  <a:prstClr val="black"/>
                </a:solidFill>
              </a:rPr>
              <a:t> средства. Руководители исследования: Ю.В. Попов. Государственное учреждение «Санкт-Петербургский психоневрологический научно-исследовательский институт им. В.М. Бехтерева; А.С. </a:t>
            </a:r>
            <a:r>
              <a:rPr lang="ru-RU" sz="800" i="1" dirty="0" err="1">
                <a:solidFill>
                  <a:prstClr val="black"/>
                </a:solidFill>
              </a:rPr>
              <a:t>Аведисова</a:t>
            </a:r>
            <a:r>
              <a:rPr lang="ru-RU" sz="800" i="1" dirty="0">
                <a:solidFill>
                  <a:prstClr val="black"/>
                </a:solidFill>
              </a:rPr>
              <a:t>. ГНЦС и СП им В.П. Сербского; </a:t>
            </a:r>
            <a:r>
              <a:rPr lang="ru-RU" sz="800" i="1" dirty="0" err="1">
                <a:solidFill>
                  <a:prstClr val="black"/>
                </a:solidFill>
              </a:rPr>
              <a:t>Шамрей</a:t>
            </a:r>
            <a:r>
              <a:rPr lang="ru-RU" sz="800" i="1" dirty="0">
                <a:solidFill>
                  <a:prstClr val="black"/>
                </a:solidFill>
              </a:rPr>
              <a:t> В.К., Военно-Медицинская Академия МО РФ. 2005 г. </a:t>
            </a:r>
            <a:r>
              <a:rPr lang="en-US" sz="800" i="1" dirty="0">
                <a:solidFill>
                  <a:prstClr val="black"/>
                </a:solidFill>
              </a:rPr>
              <a:t>(Data on File)</a:t>
            </a:r>
            <a:endParaRPr lang="ru-RU" altLang="ru-RU" sz="800" i="1" dirty="0">
              <a:solidFill>
                <a:prstClr val="black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845" y="1326766"/>
            <a:ext cx="4541003" cy="36362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9855424"/>
      </p:ext>
    </p:extLst>
  </p:cSld>
  <p:clrMapOvr>
    <a:masterClrMapping/>
  </p:clrMapOvr>
  <p:transition/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260491B-13D9-A8CB-EC75-4E2C8E26BB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>
                <a:solidFill>
                  <a:srgbClr val="002060"/>
                </a:solidFill>
              </a:rPr>
              <a:t>Благодарю за внимание!</a:t>
            </a:r>
          </a:p>
        </p:txBody>
      </p:sp>
      <p:pic>
        <p:nvPicPr>
          <p:cNvPr id="7" name="Объект 6">
            <a:extLst>
              <a:ext uri="{FF2B5EF4-FFF2-40B4-BE49-F238E27FC236}">
                <a16:creationId xmlns:a16="http://schemas.microsoft.com/office/drawing/2014/main" id="{1E6AB252-33C9-E22A-4499-F75A4D84001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201080" y="1825625"/>
            <a:ext cx="5789839" cy="4351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703030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7353156-502E-B0BE-E379-586575187D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ышечные спазмы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0DF4AA7A-7832-71F7-62BF-F7AF67BEC24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Мышечные спазмы представляют собой внезапные, кратковременные, болезненные сокращения мышцы или группы мышц. </a:t>
            </a:r>
          </a:p>
          <a:p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Судороги часто возникают у здоровых людей (обычно у лиц среднего или пожилого возраста), иногда в покое, чаще во время физических упражнений или после них, либо же ночью (в том числе во время сна). </a:t>
            </a:r>
          </a:p>
          <a:p>
            <a:r>
              <a:rPr lang="ru-RU" b="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пазмы в мышцах ног в ночное время </a:t>
            </a:r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обычно вовлекают мышцы голени и приводят к подошвенному сгибанию стопы и пальцев.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19620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D323DB9-D11F-642C-E0CD-1A8A0AD467D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чины мышечного спазм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2FFD091-A6B3-B24D-1889-DB876A5683E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ильные стрессы.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Стрессы влияют на работу эндокринной системы, из-за чего возникает повышение мышечного тонуса.</a:t>
            </a:r>
          </a:p>
          <a:p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равмы позвоночника.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 ушибах позвоночника может задеваться триггерная точка — область мышцы, наиболее чувствительная к раздражителям, при сдавливании которой возникает сильная боль.</a:t>
            </a:r>
          </a:p>
          <a:p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Хроническое перенапряжение.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является при неправильном положении спины во время длительной сидячей или стоячей работы. Также перенапряжение мышц спины возникает при постоянном ношении сумки на одном плече.</a:t>
            </a:r>
          </a:p>
          <a:p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егенеративно – деструктивные изменения позвоночника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— протрузии и грыжи, неврологические симптомы остеохондроза позвоночника.</a:t>
            </a:r>
          </a:p>
        </p:txBody>
      </p:sp>
    </p:spTree>
    <p:extLst>
      <p:ext uri="{BB962C8B-B14F-4D97-AF65-F5344CB8AC3E}">
        <p14:creationId xmlns:p14="http://schemas.microsoft.com/office/powerpoint/2010/main" val="14967676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409A880-1D69-612D-BF13-7561D5A9BC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>
                <a:solidFill>
                  <a:srgbClr val="000000"/>
                </a:solidFill>
                <a:latin typeface="Open Sans" panose="020B0606030504020204" pitchFamily="34" charset="0"/>
              </a:rPr>
              <a:t/>
            </a:r>
            <a:br>
              <a:rPr lang="ru-RU" dirty="0">
                <a:solidFill>
                  <a:srgbClr val="000000"/>
                </a:solidFill>
                <a:latin typeface="Open Sans" panose="020B0606030504020204" pitchFamily="34" charset="0"/>
              </a:rPr>
            </a:br>
            <a:r>
              <a:rPr lang="ru-RU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</a:t>
            </a:r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ричинами мышечных спазмов являются следующие:</a:t>
            </a:r>
            <a:b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0AEDB220-32C9-77DF-186B-29F72780406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l">
              <a:buFont typeface="Arial" panose="020B0604020202020204" pitchFamily="34" charset="0"/>
              <a:buChar char="•"/>
            </a:pPr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Доброкачественные спазмы мышц ног (мышечные спазмы в отсутствие заболевания, которое может быть их причиной; как правило, возникают в ночное время).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Мышечные спазмы, связанные с физической нагрузкой (спазмы, возникающие во время или сразу после упражнений).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599026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93BD922-90F6-B2F7-040D-7AD533F62C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>
                <a:solidFill>
                  <a:srgbClr val="000000"/>
                </a:solidFill>
                <a:latin typeface="Open Sans" panose="020B0606030504020204" pitchFamily="34" charset="0"/>
              </a:rPr>
              <a:t/>
            </a:r>
            <a:br>
              <a:rPr lang="ru-RU" dirty="0">
                <a:solidFill>
                  <a:srgbClr val="000000"/>
                </a:solidFill>
                <a:latin typeface="Open Sans" panose="020B0606030504020204" pitchFamily="34" charset="0"/>
              </a:rPr>
            </a:br>
            <a:r>
              <a:rPr lang="ru-RU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</a:t>
            </a:r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акторы увеличивают риск  развития и степень тяжести:</a:t>
            </a:r>
            <a:b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0D211974-7B60-3BD7-C2E0-32141F2365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algn="l">
              <a:buFont typeface="Arial" panose="020B0604020202020204" pitchFamily="34" charset="0"/>
              <a:buChar char="•"/>
            </a:pPr>
            <a:r>
              <a:rPr lang="ru-RU" sz="26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Уплотнение мышц голени в связи с отсутствием растяжения, малой физической активностью или, в ряде случаев, при длительно существующем отеке нижних конечностей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ru-RU" sz="26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Дегидратация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ru-RU" sz="26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Электролитные нарушения (например, низкий уровень калия или магния)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ru-RU" sz="26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Неврологические или метаболические нарушения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ru-RU" sz="26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Удаление большого объема жидкости во время диализа у пациентов с терминальной стадией заболевания почек</a:t>
            </a:r>
          </a:p>
          <a:p>
            <a:pPr algn="l">
              <a:buFont typeface="Arial" panose="020B0604020202020204" pitchFamily="34" charset="0"/>
              <a:buChar char="•"/>
            </a:pPr>
            <a:r>
              <a:rPr lang="ru-RU" sz="26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Лекарственные препараты</a:t>
            </a:r>
          </a:p>
          <a:p>
            <a:pPr algn="l"/>
            <a:r>
              <a:rPr lang="ru-RU" sz="2600" dirty="0">
                <a:solidFill>
                  <a:srgbClr val="0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</a:t>
            </a:r>
            <a:r>
              <a:rPr lang="ru-RU" sz="2600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екоторые токсины могут вызывать мышечные спазмы.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7994508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9B20D85-B7E4-68B3-18D4-B631C78146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следование при мышечных спазмах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DA1F93EF-B18D-3938-AA8A-9E98AEC25C4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При оценке мышечных спазмов следует сосредоточиться на попытке выявить поддающуюся лечению причину такого состояния. </a:t>
            </a:r>
          </a:p>
          <a:p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Во многих случаях заболевание, являющееся причиной спазмов, уже диагностировано или сопровождается другими симптомами, более важными, чем мышечные спазмы.</a:t>
            </a:r>
          </a:p>
          <a:p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Мышечные спазмы следует дифференцировать от перемежающейся </a:t>
            </a:r>
            <a:r>
              <a:rPr lang="ru-RU" b="0" i="0" u="sng" dirty="0">
                <a:solidFill>
                  <a:srgbClr val="B12E3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  <a:hlinkClick r:id="rId2" tooltip="Клинические проявления"/>
              </a:rPr>
              <a:t>хромоты</a:t>
            </a:r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 и </a:t>
            </a:r>
            <a:r>
              <a:rPr lang="ru-RU" b="0" i="0" u="sng" dirty="0" err="1">
                <a:solidFill>
                  <a:srgbClr val="B12E32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  <a:hlinkClick r:id="rId3" tooltip="Дистонии"/>
              </a:rPr>
              <a:t>дистоний</a:t>
            </a:r>
            <a:r>
              <a:rPr lang="ru-RU" b="0" i="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, для этого обычно достаточно клинического обследования.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89944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6S0QGc2jJZIeggRBPYvH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ER_SLIDES_TRACKER_TEXT" val="5-10%"/>
  <p:tag name="SMARTER_SLIDES_TRACKER_DATE" val="10-Feb-21 09:58:3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ER_SLIDES_TRACKER_TEXT" val="НЕСпецифическая боль"/>
  <p:tag name="SMARTER_SLIDES_TRACKER_DATE" val="10-Feb-21 09:58:3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P2Wf5J3UnrRGljCPeEg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26ksAgBrFZBNd.RGBAA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xcuDkyxRMc5Yz7E7ZEj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X0ck4ruBQ4n_mcYEN9o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hw2Fd_ba6I17yxrnPzJ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tOH9cgK6vNFcyObuLAE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X0ck4ruBQ4n_mcYEN9o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eCaFihCec83OEIQYzB4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4Mh0akk9uR5_RC7N0MG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5AhVHR4Di.ve.4hUsbj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HqXF6.WXrO1IvYy.VQv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WaZBDvPOjmE.gZJ9i.l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ngItXHbHu5mTkJbjkIbY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XD2c9GNU9f0Fhd_mmW3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kHXwQzMfR4GLOP3JLtJ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wc7GUu38.sD_sN8tGs8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TwyXkaXiVd98TPuhzlP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JR2Pv5HYy_K.kqX6lPd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0dsp81r0ZL5.knJ8J2h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2AWNG2gjQdOoqCawM7AB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SsbooYuJ.rnaraPlA.b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SfoAywe.mDjJL6TiCg2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7Xtj0IQNT9ZLrHSK6bJ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xyIatDFnKSzF5jYyoP7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oPnXIeh5LBmNE2Dq6CL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29D0E3UaQY2u4hrPg6o7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oer0gG3mBgywGF9HbOY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6fBWoZMACBtQJhnPmZtz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ppBkHp5XwzzARBnegaG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mVN.K4TJVbQGXExz7x7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_VfCTInkzHdsRc72wfe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YoAlgf9Ae3LHzBNuZ1a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I72D7bAryCo9uE4.Ul1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ER_SLIDES_TRACKER_TEXT" val="ДИАГНОСТИКА БОЛИ В СПИНЕ ЗАТРУДНЕНА ВСЛЕДСТВИЕ МНОЖЕСТВЕННОЙ ЭТИОЛОГИИ&#10;В 90-95% случаев боль в спине имеет неспецифический характер и является проявлением скелетно-мышечных изменений1&#10;В 5-10% случаев причиной боли становятся инфекционные, неопластические, воспалительные и другие заболевания2"/>
  <p:tag name="SMARTER_SLIDES_TRACKER_DATE" val="10-Feb-21 09:58:3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ER_SLIDES_TRACKER_TEXT" val="Специфическая боль"/>
  <p:tag name="SMARTER_SLIDES_TRACKER_DATE" val="10-Feb-21 09:58:3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n9NfQazmFpUpNrhmA4P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ER_SLIDES_TRACKER_TEXT" val="90-95%"/>
  <p:tag name="SMARTER_SLIDES_TRACKER_DATE" val="10-Feb-21 09:58:35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рафлекс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Терафлекс" id="{65356D54-E3D1-4518-8200-4605CFD5FFEE}" vid="{EA26582C-0E45-46DF-A306-36DF8BA38C6F}"/>
    </a:ext>
  </a:extLst>
</a:theme>
</file>

<file path=ppt/theme/theme3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solidFill>
          <a:srgbClr val="C9E7E4"/>
        </a:solidFill>
      </a:spPr>
      <a:bodyPr wrap="square">
        <a:spAutoFit/>
      </a:bodyPr>
      <a:lstStyle>
        <a:defPPr>
          <a:defRPr sz="1400" b="1" dirty="0">
            <a:solidFill>
              <a:srgbClr val="A06F2A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2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41</TotalTime>
  <Words>2911</Words>
  <Application>Microsoft Office PowerPoint</Application>
  <PresentationFormat>Широкоэкранный</PresentationFormat>
  <Paragraphs>426</Paragraphs>
  <Slides>42</Slides>
  <Notes>3</Notes>
  <HiddenSlides>4</HiddenSlides>
  <MMClips>0</MMClips>
  <ScaleCrop>false</ScaleCrop>
  <HeadingPairs>
    <vt:vector size="8" baseType="variant">
      <vt:variant>
        <vt:lpstr>Использованные шрифты</vt:lpstr>
      </vt:variant>
      <vt:variant>
        <vt:i4>13</vt:i4>
      </vt:variant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2</vt:i4>
      </vt:variant>
    </vt:vector>
  </HeadingPairs>
  <TitlesOfParts>
    <vt:vector size="60" baseType="lpstr">
      <vt:lpstr>Arial</vt:lpstr>
      <vt:lpstr>Arial Narrow</vt:lpstr>
      <vt:lpstr>Arial Unicode MS</vt:lpstr>
      <vt:lpstr>Calibri</vt:lpstr>
      <vt:lpstr>Calibri Light</vt:lpstr>
      <vt:lpstr>Century Gothic</vt:lpstr>
      <vt:lpstr>Inter</vt:lpstr>
      <vt:lpstr>Open Sans</vt:lpstr>
      <vt:lpstr>Source Sans 3</vt:lpstr>
      <vt:lpstr>Tahoma</vt:lpstr>
      <vt:lpstr>Times New Roman</vt:lpstr>
      <vt:lpstr>Verdana</vt:lpstr>
      <vt:lpstr>Wingdings</vt:lpstr>
      <vt:lpstr>Тема Office</vt:lpstr>
      <vt:lpstr>Терафлекс</vt:lpstr>
      <vt:lpstr>1_Тема Office</vt:lpstr>
      <vt:lpstr>2_Тема Office</vt:lpstr>
      <vt:lpstr>think-cell Slide</vt:lpstr>
      <vt:lpstr>Болевой мышечный спазм</vt:lpstr>
      <vt:lpstr>Введение</vt:lpstr>
      <vt:lpstr>Имитировать мышечные спазмы могут другие заболевания</vt:lpstr>
      <vt:lpstr>Болезненный мышечный спазм (БМС)</vt:lpstr>
      <vt:lpstr>Мышечные спазмы</vt:lpstr>
      <vt:lpstr>Причины мышечного спазма</vt:lpstr>
      <vt:lpstr> Причинами мышечных спазмов являются следующие: </vt:lpstr>
      <vt:lpstr> Факторы увеличивают риск  развития и степень тяжести: </vt:lpstr>
      <vt:lpstr>Обследование при мышечных спазмах</vt:lpstr>
      <vt:lpstr>Обследование при мышечном спазме</vt:lpstr>
      <vt:lpstr>Обследование</vt:lpstr>
      <vt:lpstr>Перегрузка мышц – самая частая причина</vt:lpstr>
      <vt:lpstr>Причина перегрузки мышц</vt:lpstr>
      <vt:lpstr>Прогноз благоприятный</vt:lpstr>
      <vt:lpstr>Презентация PowerPoint</vt:lpstr>
      <vt:lpstr>Порочный круг по механизму самовоспроизведения: </vt:lpstr>
      <vt:lpstr>Этиология болевого синдрома в нижней части спины</vt:lpstr>
      <vt:lpstr>Причины неспецифической боли в нижней части спины</vt:lpstr>
      <vt:lpstr>Дегенеративно-дистрофические заболевания позвоночника</vt:lpstr>
      <vt:lpstr>Фасеточный синдром (спондилоартроз)</vt:lpstr>
      <vt:lpstr>Презентация PowerPoint</vt:lpstr>
      <vt:lpstr>Презентация PowerPoint</vt:lpstr>
      <vt:lpstr> История заболевания </vt:lpstr>
      <vt:lpstr> История заболевания </vt:lpstr>
      <vt:lpstr>Тревожными являются следующие симптомы</vt:lpstr>
      <vt:lpstr> Интерпретация результатов </vt:lpstr>
      <vt:lpstr> Интерпретация результатов </vt:lpstr>
      <vt:lpstr>Лечение</vt:lpstr>
      <vt:lpstr>Презентация PowerPoint</vt:lpstr>
      <vt:lpstr>Презентация PowerPoint</vt:lpstr>
      <vt:lpstr>Презентация PowerPoint</vt:lpstr>
      <vt:lpstr>Комбинация ХС и ГА – перспективное средство лечения БНС</vt:lpstr>
      <vt:lpstr>Комбинация ХС и ГА – перспективное средство лечения БНС</vt:lpstr>
      <vt:lpstr>Комбинация ХС и ГА – перспективное средство лечения БНС</vt:lpstr>
      <vt:lpstr>Комбинация глюкозамина гидрохлорида и хондроитина сульфата эффективно увеличивает синтез коллагена в различных тканях сустава</vt:lpstr>
      <vt:lpstr>Презентация PowerPoint</vt:lpstr>
      <vt:lpstr>Презентация PowerPoint</vt:lpstr>
      <vt:lpstr>Профилактика</vt:lpstr>
      <vt:lpstr>Презентация PowerPoint</vt:lpstr>
      <vt:lpstr>Тенотен снижает симптоматику невротических расстройств более чем на 60%</vt:lpstr>
      <vt:lpstr>Презентация PowerPoint</vt:lpstr>
      <vt:lpstr>Благодарю за внимание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Марина Жестикова</dc:creator>
  <cp:lastModifiedBy>Рентген</cp:lastModifiedBy>
  <cp:revision>13</cp:revision>
  <dcterms:created xsi:type="dcterms:W3CDTF">2023-03-29T13:51:26Z</dcterms:created>
  <dcterms:modified xsi:type="dcterms:W3CDTF">2023-04-07T04:55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7f850223-87a8-40c3-9eb2-432606efca2a_Enabled">
    <vt:lpwstr>true</vt:lpwstr>
  </property>
  <property fmtid="{D5CDD505-2E9C-101B-9397-08002B2CF9AE}" pid="3" name="MSIP_Label_7f850223-87a8-40c3-9eb2-432606efca2a_SetDate">
    <vt:lpwstr>2023-04-03T05:03:18Z</vt:lpwstr>
  </property>
  <property fmtid="{D5CDD505-2E9C-101B-9397-08002B2CF9AE}" pid="4" name="MSIP_Label_7f850223-87a8-40c3-9eb2-432606efca2a_Method">
    <vt:lpwstr>Privileged</vt:lpwstr>
  </property>
  <property fmtid="{D5CDD505-2E9C-101B-9397-08002B2CF9AE}" pid="5" name="MSIP_Label_7f850223-87a8-40c3-9eb2-432606efca2a_Name">
    <vt:lpwstr>7f850223-87a8-40c3-9eb2-432606efca2a</vt:lpwstr>
  </property>
  <property fmtid="{D5CDD505-2E9C-101B-9397-08002B2CF9AE}" pid="6" name="MSIP_Label_7f850223-87a8-40c3-9eb2-432606efca2a_SiteId">
    <vt:lpwstr>fcb2b37b-5da0-466b-9b83-0014b67a7c78</vt:lpwstr>
  </property>
  <property fmtid="{D5CDD505-2E9C-101B-9397-08002B2CF9AE}" pid="7" name="MSIP_Label_7f850223-87a8-40c3-9eb2-432606efca2a_ActionId">
    <vt:lpwstr>b77e5fe5-343d-4e73-8aba-90a0d079a3aa</vt:lpwstr>
  </property>
  <property fmtid="{D5CDD505-2E9C-101B-9397-08002B2CF9AE}" pid="8" name="MSIP_Label_7f850223-87a8-40c3-9eb2-432606efca2a_ContentBits">
    <vt:lpwstr>0</vt:lpwstr>
  </property>
</Properties>
</file>